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4.xml" ContentType="application/vnd.openxmlformats-officedocument.themeOverride+xml"/>
  <Override PartName="/ppt/tags/tag9.xml" ContentType="application/vnd.openxmlformats-officedocument.presentationml.tags+xml"/>
  <Override PartName="/ppt/theme/themeOverride5.xml" ContentType="application/vnd.openxmlformats-officedocument.themeOverride+xml"/>
  <Override PartName="/ppt/tags/tag10.xml" ContentType="application/vnd.openxmlformats-officedocument.presentationml.tags+xml"/>
  <Override PartName="/ppt/theme/themeOverride6.xml" ContentType="application/vnd.openxmlformats-officedocument.themeOverride+xml"/>
  <Override PartName="/ppt/tags/tag11.xml" ContentType="application/vnd.openxmlformats-officedocument.presentationml.tags+xml"/>
  <Override PartName="/ppt/theme/themeOverride7.xml" ContentType="application/vnd.openxmlformats-officedocument.themeOverride+xml"/>
  <Override PartName="/ppt/tags/tag12.xml" ContentType="application/vnd.openxmlformats-officedocument.presentationml.tags+xml"/>
  <Override PartName="/ppt/theme/themeOverride8.xml" ContentType="application/vnd.openxmlformats-officedocument.themeOverride+xml"/>
  <Override PartName="/ppt/tags/tag13.xml" ContentType="application/vnd.openxmlformats-officedocument.presentationml.tags+xml"/>
  <Override PartName="/ppt/theme/themeOverride9.xml" ContentType="application/vnd.openxmlformats-officedocument.themeOverride+xml"/>
  <Override PartName="/ppt/tags/tag14.xml" ContentType="application/vnd.openxmlformats-officedocument.presentationml.tags+xml"/>
  <Override PartName="/ppt/theme/themeOverride10.xml" ContentType="application/vnd.openxmlformats-officedocument.themeOverride+xml"/>
  <Override PartName="/ppt/tags/tag15.xml" ContentType="application/vnd.openxmlformats-officedocument.presentationml.tags+xml"/>
  <Override PartName="/ppt/theme/themeOverride11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12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13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Override14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Override15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Override16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Override17.xml" ContentType="application/vnd.openxmlformats-officedocument.themeOverr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18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Override19.xml" ContentType="application/vnd.openxmlformats-officedocument.themeOverride+xml"/>
  <Override PartName="/ppt/tags/tag34.xml" ContentType="application/vnd.openxmlformats-officedocument.presentationml.tags+xml"/>
  <Override PartName="/ppt/theme/themeOverride20.xml" ContentType="application/vnd.openxmlformats-officedocument.themeOverride+xml"/>
  <Override PartName="/ppt/tags/tag35.xml" ContentType="application/vnd.openxmlformats-officedocument.presentationml.tags+xml"/>
  <Override PartName="/ppt/theme/themeOverride21.xml" ContentType="application/vnd.openxmlformats-officedocument.themeOverride+xml"/>
  <Override PartName="/ppt/tags/tag36.xml" ContentType="application/vnd.openxmlformats-officedocument.presentationml.tags+xml"/>
  <Override PartName="/ppt/theme/themeOverride22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Override23.xml" ContentType="application/vnd.openxmlformats-officedocument.themeOverr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Override24.xml" ContentType="application/vnd.openxmlformats-officedocument.themeOverr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Override25.xml" ContentType="application/vnd.openxmlformats-officedocument.themeOverride+xml"/>
  <Override PartName="/ppt/tags/tag43.xml" ContentType="application/vnd.openxmlformats-officedocument.presentationml.tags+xml"/>
  <Override PartName="/ppt/theme/themeOverride26.xml" ContentType="application/vnd.openxmlformats-officedocument.themeOverride+xml"/>
  <Override PartName="/ppt/tags/tag44.xml" ContentType="application/vnd.openxmlformats-officedocument.presentationml.tags+xml"/>
  <Override PartName="/ppt/theme/themeOverride27.xml" ContentType="application/vnd.openxmlformats-officedocument.themeOverr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Override28.xml" ContentType="application/vnd.openxmlformats-officedocument.themeOverride+xml"/>
  <Override PartName="/ppt/tags/tag47.xml" ContentType="application/vnd.openxmlformats-officedocument.presentationml.tags+xml"/>
  <Override PartName="/ppt/theme/themeOverride29.xml" ContentType="application/vnd.openxmlformats-officedocument.themeOverr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Override30.xml" ContentType="application/vnd.openxmlformats-officedocument.themeOverr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Override31.xml" ContentType="application/vnd.openxmlformats-officedocument.themeOverr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Override32.xml" ContentType="application/vnd.openxmlformats-officedocument.themeOverr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Override33.xml" ContentType="application/vnd.openxmlformats-officedocument.themeOverride+xml"/>
  <Override PartName="/ppt/tags/tag5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omments/modernComment_7F3E87AB_59B3BAE8.xml" ContentType="application/vnd.ms-powerpoint.comment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0" r:id="rId4"/>
    <p:sldMasterId id="2147483686" r:id="rId5"/>
    <p:sldMasterId id="2147483694" r:id="rId6"/>
  </p:sldMasterIdLst>
  <p:notesMasterIdLst>
    <p:notesMasterId r:id="rId25"/>
  </p:notesMasterIdLst>
  <p:handoutMasterIdLst>
    <p:handoutMasterId r:id="rId26"/>
  </p:handoutMasterIdLst>
  <p:sldIdLst>
    <p:sldId id="675" r:id="rId7"/>
    <p:sldId id="2134804390" r:id="rId8"/>
    <p:sldId id="2134804391" r:id="rId9"/>
    <p:sldId id="519" r:id="rId10"/>
    <p:sldId id="2134804395" r:id="rId11"/>
    <p:sldId id="2134804396" r:id="rId12"/>
    <p:sldId id="2134804397" r:id="rId13"/>
    <p:sldId id="2134804398" r:id="rId14"/>
    <p:sldId id="2134804399" r:id="rId15"/>
    <p:sldId id="2134804400" r:id="rId16"/>
    <p:sldId id="2134804401" r:id="rId17"/>
    <p:sldId id="2134804402" r:id="rId18"/>
    <p:sldId id="2134804403" r:id="rId19"/>
    <p:sldId id="2134804404" r:id="rId20"/>
    <p:sldId id="683" r:id="rId21"/>
    <p:sldId id="2134804394" r:id="rId22"/>
    <p:sldId id="558" r:id="rId23"/>
    <p:sldId id="392" r:id="rId24"/>
  </p:sldIdLst>
  <p:sldSz cx="12192000" cy="6858000"/>
  <p:notesSz cx="6669088" cy="9926638"/>
  <p:defaultTextStyle>
    <a:defPPr rtl="0"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6A857826-3B86-6221-5889-D060BFC2E2C9}" name="von Bidder Sylvia (HKBB)" initials="Sv" userId="S::s.vonbidder@hkbb.ch::3e79b573-d59a-4de5-866c-abcf5f8e8f73" providerId="AD"/>
  <p188:author id="{6C1E0627-3418-022E-12D3-7FF87387D539}" name="Schwander Nathalie (HKBB)" initials="S(" userId="S::n.schwander@hkbb.ch::1ddde273-4c63-446d-8aec-866cb2e465f8" providerId="AD"/>
  <p188:author id="{4FEE7E32-EA4A-A5BF-211F-18FB71BEF1B3}" name="Raaflaub Brigitte (HKBB)" initials="R(" userId="S::b.raaflaub@hkbb.ch::898427e0-eac9-43b3-88d7-c5a51a2fe9c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3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uchecker Silvan (HKBB)" userId="b3e5a4af-bdc2-4a5b-91f8-8b71918e2e87" providerId="ADAL" clId="{F1C69790-881E-4E6A-BEDC-7F9EDA6FF34C}"/>
    <pc:docChg chg="modSld">
      <pc:chgData name="Buchecker Silvan (HKBB)" userId="b3e5a4af-bdc2-4a5b-91f8-8b71918e2e87" providerId="ADAL" clId="{F1C69790-881E-4E6A-BEDC-7F9EDA6FF34C}" dt="2025-01-22T09:41:37.701" v="5" actId="20577"/>
      <pc:docMkLst>
        <pc:docMk/>
      </pc:docMkLst>
      <pc:sldChg chg="modSp mod">
        <pc:chgData name="Buchecker Silvan (HKBB)" userId="b3e5a4af-bdc2-4a5b-91f8-8b71918e2e87" providerId="ADAL" clId="{F1C69790-881E-4E6A-BEDC-7F9EDA6FF34C}" dt="2025-01-22T09:41:37.701" v="5" actId="20577"/>
        <pc:sldMkLst>
          <pc:docMk/>
          <pc:sldMk cId="3403175453" sldId="2134804382"/>
        </pc:sldMkLst>
      </pc:sldChg>
    </pc:docChg>
  </pc:docChgLst>
  <pc:docChgLst>
    <pc:chgData name="Schwander Nathalie (HKBB)" userId="1ddde273-4c63-446d-8aec-866cb2e465f8" providerId="ADAL" clId="{4FFB4ACF-DDF3-4740-9D84-49608A548752}"/>
    <pc:docChg chg="custSel delSld modSld modMainMaster">
      <pc:chgData name="Schwander Nathalie (HKBB)" userId="1ddde273-4c63-446d-8aec-866cb2e465f8" providerId="ADAL" clId="{4FFB4ACF-DDF3-4740-9D84-49608A548752}" dt="2025-01-14T14:15:43.215" v="234" actId="6549"/>
      <pc:docMkLst>
        <pc:docMk/>
      </pc:docMkLst>
      <pc:sldChg chg="addSp modSp">
        <pc:chgData name="Schwander Nathalie (HKBB)" userId="1ddde273-4c63-446d-8aec-866cb2e465f8" providerId="ADAL" clId="{4FFB4ACF-DDF3-4740-9D84-49608A548752}" dt="2025-01-14T14:12:02.757" v="205"/>
        <pc:sldMkLst>
          <pc:docMk/>
          <pc:sldMk cId="2314239642" sldId="680"/>
        </pc:sldMkLst>
      </pc:sldChg>
      <pc:sldChg chg="addSp modSp">
        <pc:chgData name="Schwander Nathalie (HKBB)" userId="1ddde273-4c63-446d-8aec-866cb2e465f8" providerId="ADAL" clId="{4FFB4ACF-DDF3-4740-9D84-49608A548752}" dt="2025-01-14T14:12:05.379" v="206"/>
        <pc:sldMkLst>
          <pc:docMk/>
          <pc:sldMk cId="4257588460" sldId="681"/>
        </pc:sldMkLst>
      </pc:sldChg>
      <pc:sldChg chg="del">
        <pc:chgData name="Schwander Nathalie (HKBB)" userId="1ddde273-4c63-446d-8aec-866cb2e465f8" providerId="ADAL" clId="{4FFB4ACF-DDF3-4740-9D84-49608A548752}" dt="2025-01-14T14:12:16.349" v="207" actId="2696"/>
        <pc:sldMkLst>
          <pc:docMk/>
          <pc:sldMk cId="3655698743" sldId="682"/>
        </pc:sldMkLst>
      </pc:sldChg>
      <pc:sldChg chg="addSp delSp modSp mod">
        <pc:chgData name="Schwander Nathalie (HKBB)" userId="1ddde273-4c63-446d-8aec-866cb2e465f8" providerId="ADAL" clId="{4FFB4ACF-DDF3-4740-9D84-49608A548752}" dt="2025-01-14T14:15:09.172" v="215" actId="1076"/>
        <pc:sldMkLst>
          <pc:docMk/>
          <pc:sldMk cId="1596061055" sldId="683"/>
        </pc:sldMkLst>
      </pc:sldChg>
      <pc:sldChg chg="addSp modSp">
        <pc:chgData name="Schwander Nathalie (HKBB)" userId="1ddde273-4c63-446d-8aec-866cb2e465f8" providerId="ADAL" clId="{4FFB4ACF-DDF3-4740-9D84-49608A548752}" dt="2025-01-14T14:11:50.086" v="204"/>
        <pc:sldMkLst>
          <pc:docMk/>
          <pc:sldMk cId="603936504" sldId="2134804358"/>
        </pc:sldMkLst>
      </pc:sldChg>
      <pc:sldChg chg="addSp modSp">
        <pc:chgData name="Schwander Nathalie (HKBB)" userId="1ddde273-4c63-446d-8aec-866cb2e465f8" providerId="ADAL" clId="{4FFB4ACF-DDF3-4740-9D84-49608A548752}" dt="2025-01-14T14:11:44.727" v="203"/>
        <pc:sldMkLst>
          <pc:docMk/>
          <pc:sldMk cId="2184935872" sldId="2134804372"/>
        </pc:sldMkLst>
      </pc:sldChg>
      <pc:sldChg chg="del">
        <pc:chgData name="Schwander Nathalie (HKBB)" userId="1ddde273-4c63-446d-8aec-866cb2e465f8" providerId="ADAL" clId="{4FFB4ACF-DDF3-4740-9D84-49608A548752}" dt="2025-01-14T14:12:22.897" v="208" actId="2696"/>
        <pc:sldMkLst>
          <pc:docMk/>
          <pc:sldMk cId="4165682228" sldId="2134804374"/>
        </pc:sldMkLst>
      </pc:sldChg>
      <pc:sldChg chg="addSp modSp mod">
        <pc:chgData name="Schwander Nathalie (HKBB)" userId="1ddde273-4c63-446d-8aec-866cb2e465f8" providerId="ADAL" clId="{4FFB4ACF-DDF3-4740-9D84-49608A548752}" dt="2025-01-14T14:11:33.775" v="202" actId="20577"/>
        <pc:sldMkLst>
          <pc:docMk/>
          <pc:sldMk cId="3749052628" sldId="2134804375"/>
        </pc:sldMkLst>
      </pc:sldChg>
      <pc:sldChg chg="del">
        <pc:chgData name="Schwander Nathalie (HKBB)" userId="1ddde273-4c63-446d-8aec-866cb2e465f8" providerId="ADAL" clId="{4FFB4ACF-DDF3-4740-9D84-49608A548752}" dt="2025-01-14T14:12:26.858" v="209" actId="2696"/>
        <pc:sldMkLst>
          <pc:docMk/>
          <pc:sldMk cId="2246974120" sldId="2134804376"/>
        </pc:sldMkLst>
      </pc:sldChg>
      <pc:sldMasterChg chg="modSp mod modSldLayout">
        <pc:chgData name="Schwander Nathalie (HKBB)" userId="1ddde273-4c63-446d-8aec-866cb2e465f8" providerId="ADAL" clId="{4FFB4ACF-DDF3-4740-9D84-49608A548752}" dt="2025-01-14T14:10:51.862" v="160" actId="20577"/>
        <pc:sldMasterMkLst>
          <pc:docMk/>
          <pc:sldMasterMk cId="1759221374" sldId="2147483670"/>
        </pc:sldMasterMkLst>
        <pc:spChg chg="mod">
          <ac:chgData name="Schwander Nathalie (HKBB)" userId="1ddde273-4c63-446d-8aec-866cb2e465f8" providerId="ADAL" clId="{4FFB4ACF-DDF3-4740-9D84-49608A548752}" dt="2025-01-14T14:09:18.433" v="145" actId="20577"/>
          <ac:spMkLst>
            <pc:docMk/>
            <pc:sldMasterMk cId="1759221374" sldId="2147483670"/>
            <ac:spMk id="23" creationId="{452A3C52-BEFF-9B42-B2D9-CB85F264AE15}"/>
          </ac:spMkLst>
        </pc:spChg>
        <pc:sldLayoutChg chg="modSp mod">
          <pc:chgData name="Schwander Nathalie (HKBB)" userId="1ddde273-4c63-446d-8aec-866cb2e465f8" providerId="ADAL" clId="{4FFB4ACF-DDF3-4740-9D84-49608A548752}" dt="2025-01-14T14:10:51.862" v="160" actId="20577"/>
          <pc:sldLayoutMkLst>
            <pc:docMk/>
            <pc:sldMasterMk cId="1759221374" sldId="2147483670"/>
            <pc:sldLayoutMk cId="2229963026" sldId="2147483681"/>
          </pc:sldLayoutMkLst>
          <pc:spChg chg="mod">
            <ac:chgData name="Schwander Nathalie (HKBB)" userId="1ddde273-4c63-446d-8aec-866cb2e465f8" providerId="ADAL" clId="{4FFB4ACF-DDF3-4740-9D84-49608A548752}" dt="2025-01-14T14:10:51.862" v="160" actId="20577"/>
            <ac:spMkLst>
              <pc:docMk/>
              <pc:sldMasterMk cId="1759221374" sldId="2147483670"/>
              <pc:sldLayoutMk cId="2229963026" sldId="2147483681"/>
              <ac:spMk id="5" creationId="{2AE6E335-C5F4-484B-B772-36E477C6C423}"/>
            </ac:spMkLst>
          </pc:spChg>
        </pc:sldLayoutChg>
      </pc:sldMasterChg>
    </pc:docChg>
  </pc:docChgLst>
  <pc:docChgLst>
    <pc:chgData name="Lüdin Daniel (HKBB)" userId="S::d.luedin@hkbb.ch::74c4c082-cc26-47d3-8fd2-c87c19ee9566" providerId="AD" clId="Web-{EA01A139-851F-1F1C-D551-F2986413A668}"/>
    <pc:docChg chg="delSld">
      <pc:chgData name="Lüdin Daniel (HKBB)" userId="S::d.luedin@hkbb.ch::74c4c082-cc26-47d3-8fd2-c87c19ee9566" providerId="AD" clId="Web-{EA01A139-851F-1F1C-D551-F2986413A668}" dt="2025-01-14T15:46:10.095" v="0"/>
      <pc:docMkLst>
        <pc:docMk/>
      </pc:docMkLst>
      <pc:sldChg chg="del">
        <pc:chgData name="Lüdin Daniel (HKBB)" userId="S::d.luedin@hkbb.ch::74c4c082-cc26-47d3-8fd2-c87c19ee9566" providerId="AD" clId="Web-{EA01A139-851F-1F1C-D551-F2986413A668}" dt="2025-01-14T15:46:10.095" v="0"/>
        <pc:sldMkLst>
          <pc:docMk/>
          <pc:sldMk cId="3994852623" sldId="2134804380"/>
        </pc:sldMkLst>
      </pc:sldChg>
    </pc:docChg>
  </pc:docChgLst>
  <pc:docChgLst>
    <pc:chgData name="Hofer Stefanie (HKBB)" userId="bbfc8bf1-093f-4561-bc99-19994a05dafd" providerId="ADAL" clId="{579FF482-D065-4097-BE8C-215B3141479F}"/>
    <pc:docChg chg="undo custSel modSld">
      <pc:chgData name="Hofer Stefanie (HKBB)" userId="bbfc8bf1-093f-4561-bc99-19994a05dafd" providerId="ADAL" clId="{579FF482-D065-4097-BE8C-215B3141479F}" dt="2025-03-24T08:12:07.296" v="128" actId="20577"/>
      <pc:docMkLst>
        <pc:docMk/>
      </pc:docMkLst>
      <pc:sldChg chg="modSp mod">
        <pc:chgData name="Hofer Stefanie (HKBB)" userId="bbfc8bf1-093f-4561-bc99-19994a05dafd" providerId="ADAL" clId="{579FF482-D065-4097-BE8C-215B3141479F}" dt="2025-03-24T08:12:07.296" v="128" actId="20577"/>
        <pc:sldMkLst>
          <pc:docMk/>
          <pc:sldMk cId="3800843079" sldId="558"/>
        </pc:sldMkLst>
        <pc:spChg chg="mod">
          <ac:chgData name="Hofer Stefanie (HKBB)" userId="bbfc8bf1-093f-4561-bc99-19994a05dafd" providerId="ADAL" clId="{579FF482-D065-4097-BE8C-215B3141479F}" dt="2025-03-24T08:12:07.296" v="128" actId="20577"/>
          <ac:spMkLst>
            <pc:docMk/>
            <pc:sldMk cId="3800843079" sldId="558"/>
            <ac:spMk id="3" creationId="{00000000-0000-0000-0000-000000000000}"/>
          </ac:spMkLst>
        </pc:spChg>
      </pc:sldChg>
      <pc:sldChg chg="modSp mod">
        <pc:chgData name="Hofer Stefanie (HKBB)" userId="bbfc8bf1-093f-4561-bc99-19994a05dafd" providerId="ADAL" clId="{579FF482-D065-4097-BE8C-215B3141479F}" dt="2025-03-24T08:08:47.178" v="0" actId="1037"/>
        <pc:sldMkLst>
          <pc:docMk/>
          <pc:sldMk cId="2996992431" sldId="675"/>
        </pc:sldMkLst>
        <pc:spChg chg="mod">
          <ac:chgData name="Hofer Stefanie (HKBB)" userId="bbfc8bf1-093f-4561-bc99-19994a05dafd" providerId="ADAL" clId="{579FF482-D065-4097-BE8C-215B3141479F}" dt="2025-03-24T08:08:47.178" v="0" actId="1037"/>
          <ac:spMkLst>
            <pc:docMk/>
            <pc:sldMk cId="2996992431" sldId="675"/>
            <ac:spMk id="6" creationId="{9539B0D8-58DD-40F8-5803-759B1F9685A2}"/>
          </ac:spMkLst>
        </pc:spChg>
      </pc:sldChg>
    </pc:docChg>
  </pc:docChgLst>
  <pc:docChgLst>
    <pc:chgData name="Urgese Luca (HKBB)" userId="S::l.urgese@hkbb.ch::6bc9ca5c-d5be-4142-94e7-3d16171e6324" providerId="AD" clId="Web-{94EF5F6B-CF76-4967-E8DD-EB5AC593C78D}"/>
    <pc:docChg chg="modSld">
      <pc:chgData name="Urgese Luca (HKBB)" userId="S::l.urgese@hkbb.ch::6bc9ca5c-d5be-4142-94e7-3d16171e6324" providerId="AD" clId="Web-{94EF5F6B-CF76-4967-E8DD-EB5AC593C78D}" dt="2024-10-22T07:51:12.789" v="0" actId="20577"/>
      <pc:docMkLst>
        <pc:docMk/>
      </pc:docMkLst>
      <pc:sldChg chg="modSp">
        <pc:chgData name="Urgese Luca (HKBB)" userId="S::l.urgese@hkbb.ch::6bc9ca5c-d5be-4142-94e7-3d16171e6324" providerId="AD" clId="Web-{94EF5F6B-CF76-4967-E8DD-EB5AC593C78D}" dt="2024-10-22T07:51:12.789" v="0" actId="20577"/>
        <pc:sldMkLst>
          <pc:docMk/>
          <pc:sldMk cId="3749052628" sldId="2134804375"/>
        </pc:sldMkLst>
      </pc:sldChg>
    </pc:docChg>
  </pc:docChgLst>
  <pc:docChgLst>
    <pc:chgData name="Buchbauer Raphael (HKBB)" userId="b9131bc2-c6e7-47e8-9ca9-4902240473c5" providerId="ADAL" clId="{E4E5D5A2-DEB1-45A9-84C9-6E0E1F0C45CC}"/>
    <pc:docChg chg="undo redo custSel addSld delSld modSld sldOrd modNotesMaster modHandout">
      <pc:chgData name="Buchbauer Raphael (HKBB)" userId="b9131bc2-c6e7-47e8-9ca9-4902240473c5" providerId="ADAL" clId="{E4E5D5A2-DEB1-45A9-84C9-6E0E1F0C45CC}" dt="2024-05-14T10:04:44.132" v="1631" actId="1076"/>
      <pc:docMkLst>
        <pc:docMk/>
      </pc:docMkLst>
      <pc:sldChg chg="modNotes">
        <pc:chgData name="Buchbauer Raphael (HKBB)" userId="b9131bc2-c6e7-47e8-9ca9-4902240473c5" providerId="ADAL" clId="{E4E5D5A2-DEB1-45A9-84C9-6E0E1F0C45CC}" dt="2024-05-14T10:00:51.431" v="1606"/>
        <pc:sldMkLst>
          <pc:docMk/>
          <pc:sldMk cId="0" sldId="256"/>
        </pc:sldMkLst>
      </pc:sldChg>
      <pc:sldChg chg="addSp modSp mod">
        <pc:chgData name="Buchbauer Raphael (HKBB)" userId="b9131bc2-c6e7-47e8-9ca9-4902240473c5" providerId="ADAL" clId="{E4E5D5A2-DEB1-45A9-84C9-6E0E1F0C45CC}" dt="2024-05-14T10:04:44.132" v="1631" actId="1076"/>
        <pc:sldMkLst>
          <pc:docMk/>
          <pc:sldMk cId="786413827" sldId="685"/>
        </pc:sldMkLst>
      </pc:sldChg>
      <pc:sldChg chg="addSp modSp del">
        <pc:chgData name="Buchbauer Raphael (HKBB)" userId="b9131bc2-c6e7-47e8-9ca9-4902240473c5" providerId="ADAL" clId="{E4E5D5A2-DEB1-45A9-84C9-6E0E1F0C45CC}" dt="2024-05-14T06:55:27.779" v="874" actId="2696"/>
        <pc:sldMkLst>
          <pc:docMk/>
          <pc:sldMk cId="1035268640" sldId="686"/>
        </pc:sldMkLst>
      </pc:sldChg>
      <pc:sldChg chg="addSp modSp del mod ord">
        <pc:chgData name="Buchbauer Raphael (HKBB)" userId="b9131bc2-c6e7-47e8-9ca9-4902240473c5" providerId="ADAL" clId="{E4E5D5A2-DEB1-45A9-84C9-6E0E1F0C45CC}" dt="2024-05-14T09:45:15.818" v="936" actId="2696"/>
        <pc:sldMkLst>
          <pc:docMk/>
          <pc:sldMk cId="2461901869" sldId="687"/>
        </pc:sldMkLst>
      </pc:sldChg>
      <pc:sldChg chg="addSp delSp modSp add mod">
        <pc:chgData name="Buchbauer Raphael (HKBB)" userId="b9131bc2-c6e7-47e8-9ca9-4902240473c5" providerId="ADAL" clId="{E4E5D5A2-DEB1-45A9-84C9-6E0E1F0C45CC}" dt="2024-05-14T06:55:01.832" v="873" actId="113"/>
        <pc:sldMkLst>
          <pc:docMk/>
          <pc:sldMk cId="3749052628" sldId="688"/>
        </pc:sldMkLst>
      </pc:sldChg>
      <pc:sldChg chg="addSp delSp modSp add mod">
        <pc:chgData name="Buchbauer Raphael (HKBB)" userId="b9131bc2-c6e7-47e8-9ca9-4902240473c5" providerId="ADAL" clId="{E4E5D5A2-DEB1-45A9-84C9-6E0E1F0C45CC}" dt="2024-05-14T10:00:09.735" v="1605" actId="115"/>
        <pc:sldMkLst>
          <pc:docMk/>
          <pc:sldMk cId="1461949641" sldId="689"/>
        </pc:sldMkLst>
      </pc:sldChg>
    </pc:docChg>
  </pc:docChgLst>
  <pc:docChgLst>
    <pc:chgData name="Buchbauer Raphael (HKBB)" userId="b9131bc2-c6e7-47e8-9ca9-4902240473c5" providerId="ADAL" clId="{614BDCC3-4CA9-486E-B4EC-A594E2C4B5E8}"/>
    <pc:docChg chg="undo custSel modSld">
      <pc:chgData name="Buchbauer Raphael (HKBB)" userId="b9131bc2-c6e7-47e8-9ca9-4902240473c5" providerId="ADAL" clId="{614BDCC3-4CA9-486E-B4EC-A594E2C4B5E8}" dt="2024-11-05T13:45:58.622" v="555" actId="20577"/>
      <pc:docMkLst>
        <pc:docMk/>
      </pc:docMkLst>
      <pc:sldChg chg="addSp delSp modSp mod">
        <pc:chgData name="Buchbauer Raphael (HKBB)" userId="b9131bc2-c6e7-47e8-9ca9-4902240473c5" providerId="ADAL" clId="{614BDCC3-4CA9-486E-B4EC-A594E2C4B5E8}" dt="2024-11-05T13:45:58.622" v="555" actId="20577"/>
        <pc:sldMkLst>
          <pc:docMk/>
          <pc:sldMk cId="3749052628" sldId="2134804375"/>
        </pc:sldMkLst>
      </pc:sldChg>
    </pc:docChg>
  </pc:docChgLst>
  <pc:docChgLst>
    <pc:chgData name="Elias Aisha (HKBB)" userId="08997686-3202-4f72-82fe-50faac453bb2" providerId="ADAL" clId="{A1495E88-5B71-8048-A9D7-7DCD8134B7BB}"/>
    <pc:docChg chg="addSld modSld">
      <pc:chgData name="Elias Aisha (HKBB)" userId="08997686-3202-4f72-82fe-50faac453bb2" providerId="ADAL" clId="{A1495E88-5B71-8048-A9D7-7DCD8134B7BB}" dt="2025-03-06T13:48:06.846" v="23" actId="20577"/>
      <pc:docMkLst>
        <pc:docMk/>
      </pc:docMkLst>
      <pc:sldChg chg="modSp mod">
        <pc:chgData name="Elias Aisha (HKBB)" userId="08997686-3202-4f72-82fe-50faac453bb2" providerId="ADAL" clId="{A1495E88-5B71-8048-A9D7-7DCD8134B7BB}" dt="2025-03-06T13:48:06.846" v="23" actId="20577"/>
        <pc:sldMkLst>
          <pc:docMk/>
          <pc:sldMk cId="3450368307" sldId="2134804389"/>
        </pc:sldMkLst>
      </pc:sldChg>
      <pc:sldChg chg="add">
        <pc:chgData name="Elias Aisha (HKBB)" userId="08997686-3202-4f72-82fe-50faac453bb2" providerId="ADAL" clId="{A1495E88-5B71-8048-A9D7-7DCD8134B7BB}" dt="2025-03-06T13:33:21.707" v="0"/>
        <pc:sldMkLst>
          <pc:docMk/>
          <pc:sldMk cId="2620805401" sldId="2134804393"/>
        </pc:sldMkLst>
      </pc:sldChg>
      <pc:sldChg chg="add">
        <pc:chgData name="Elias Aisha (HKBB)" userId="08997686-3202-4f72-82fe-50faac453bb2" providerId="ADAL" clId="{A1495E88-5B71-8048-A9D7-7DCD8134B7BB}" dt="2025-03-06T13:33:21.707" v="0"/>
        <pc:sldMkLst>
          <pc:docMk/>
          <pc:sldMk cId="1852770993" sldId="2134804394"/>
        </pc:sldMkLst>
      </pc:sldChg>
    </pc:docChg>
  </pc:docChgLst>
  <pc:docChgLst>
    <pc:chgData name="Meier Andreas (HKBB)" userId="cff2e09d-d371-4f00-8f47-cfd44c93e5bd" providerId="ADAL" clId="{B8693EC3-8C0C-4D12-9A89-C7E56DB4124B}"/>
    <pc:docChg chg="custSel modSld">
      <pc:chgData name="Meier Andreas (HKBB)" userId="cff2e09d-d371-4f00-8f47-cfd44c93e5bd" providerId="ADAL" clId="{B8693EC3-8C0C-4D12-9A89-C7E56DB4124B}" dt="2024-05-15T11:12:39.560" v="6" actId="20577"/>
      <pc:docMkLst>
        <pc:docMk/>
      </pc:docMkLst>
      <pc:sldChg chg="modSp mod modNotesTx">
        <pc:chgData name="Meier Andreas (HKBB)" userId="cff2e09d-d371-4f00-8f47-cfd44c93e5bd" providerId="ADAL" clId="{B8693EC3-8C0C-4D12-9A89-C7E56DB4124B}" dt="2024-05-15T11:12:39.560" v="6" actId="20577"/>
        <pc:sldMkLst>
          <pc:docMk/>
          <pc:sldMk cId="350616736" sldId="545"/>
        </pc:sldMkLst>
      </pc:sldChg>
    </pc:docChg>
  </pc:docChgLst>
  <pc:docChgLst>
    <pc:chgData name="von Bidder Sylvia (HKBB)" userId="3e79b573-d59a-4de5-866c-abcf5f8e8f73" providerId="ADAL" clId="{20D9DD84-9DDA-4377-A10B-95DCD21CFFA5}"/>
    <pc:docChg chg="undo custSel modSld">
      <pc:chgData name="von Bidder Sylvia (HKBB)" userId="3e79b573-d59a-4de5-866c-abcf5f8e8f73" providerId="ADAL" clId="{20D9DD84-9DDA-4377-A10B-95DCD21CFFA5}" dt="2024-05-14T08:51:14.692" v="489" actId="113"/>
      <pc:docMkLst>
        <pc:docMk/>
      </pc:docMkLst>
      <pc:sldChg chg="addSp delSp modSp mod">
        <pc:chgData name="von Bidder Sylvia (HKBB)" userId="3e79b573-d59a-4de5-866c-abcf5f8e8f73" providerId="ADAL" clId="{20D9DD84-9DDA-4377-A10B-95DCD21CFFA5}" dt="2024-05-14T08:51:14.692" v="489" actId="113"/>
        <pc:sldMkLst>
          <pc:docMk/>
          <pc:sldMk cId="573609149" sldId="684"/>
        </pc:sldMkLst>
      </pc:sldChg>
    </pc:docChg>
  </pc:docChgLst>
  <pc:docChgLst>
    <pc:chgData name="Schwander Nathalie (HKBB)" userId="1ddde273-4c63-446d-8aec-866cb2e465f8" providerId="ADAL" clId="{A72CCBD9-08E7-4D8B-B22F-B359699A47C4}"/>
    <pc:docChg chg="undo custSel addSld delSld modSld sldOrd">
      <pc:chgData name="Schwander Nathalie (HKBB)" userId="1ddde273-4c63-446d-8aec-866cb2e465f8" providerId="ADAL" clId="{A72CCBD9-08E7-4D8B-B22F-B359699A47C4}" dt="2025-01-20T10:45:43.613" v="190" actId="2696"/>
      <pc:docMkLst>
        <pc:docMk/>
      </pc:docMkLst>
      <pc:sldChg chg="del mod modShow">
        <pc:chgData name="Schwander Nathalie (HKBB)" userId="1ddde273-4c63-446d-8aec-866cb2e465f8" providerId="ADAL" clId="{A72CCBD9-08E7-4D8B-B22F-B359699A47C4}" dt="2025-01-20T10:45:43.613" v="190" actId="2696"/>
        <pc:sldMkLst>
          <pc:docMk/>
          <pc:sldMk cId="2314239642" sldId="680"/>
        </pc:sldMkLst>
      </pc:sldChg>
      <pc:sldChg chg="add del mod modShow">
        <pc:chgData name="Schwander Nathalie (HKBB)" userId="1ddde273-4c63-446d-8aec-866cb2e465f8" providerId="ADAL" clId="{A72CCBD9-08E7-4D8B-B22F-B359699A47C4}" dt="2025-01-20T10:45:09.102" v="179"/>
        <pc:sldMkLst>
          <pc:docMk/>
          <pc:sldMk cId="4257588460" sldId="681"/>
        </pc:sldMkLst>
      </pc:sldChg>
      <pc:sldChg chg="del mod modShow">
        <pc:chgData name="Schwander Nathalie (HKBB)" userId="1ddde273-4c63-446d-8aec-866cb2e465f8" providerId="ADAL" clId="{A72CCBD9-08E7-4D8B-B22F-B359699A47C4}" dt="2025-01-20T10:45:37.659" v="189" actId="2696"/>
        <pc:sldMkLst>
          <pc:docMk/>
          <pc:sldMk cId="603936504" sldId="2134804358"/>
        </pc:sldMkLst>
      </pc:sldChg>
      <pc:sldChg chg="mod modShow">
        <pc:chgData name="Schwander Nathalie (HKBB)" userId="1ddde273-4c63-446d-8aec-866cb2e465f8" providerId="ADAL" clId="{A72CCBD9-08E7-4D8B-B22F-B359699A47C4}" dt="2025-01-17T15:51:16.636" v="75" actId="729"/>
        <pc:sldMkLst>
          <pc:docMk/>
          <pc:sldMk cId="2184935872" sldId="2134804372"/>
        </pc:sldMkLst>
      </pc:sldChg>
      <pc:sldChg chg="del mod modShow">
        <pc:chgData name="Schwander Nathalie (HKBB)" userId="1ddde273-4c63-446d-8aec-866cb2e465f8" providerId="ADAL" clId="{A72CCBD9-08E7-4D8B-B22F-B359699A47C4}" dt="2025-01-20T10:45:34.087" v="188" actId="2696"/>
        <pc:sldMkLst>
          <pc:docMk/>
          <pc:sldMk cId="3749052628" sldId="2134804375"/>
        </pc:sldMkLst>
      </pc:sldChg>
      <pc:sldChg chg="modSp mod">
        <pc:chgData name="Schwander Nathalie (HKBB)" userId="1ddde273-4c63-446d-8aec-866cb2e465f8" providerId="ADAL" clId="{A72CCBD9-08E7-4D8B-B22F-B359699A47C4}" dt="2025-01-17T15:57:19.282" v="130" actId="1076"/>
        <pc:sldMkLst>
          <pc:docMk/>
          <pc:sldMk cId="2246974120" sldId="2134804379"/>
        </pc:sldMkLst>
      </pc:sldChg>
      <pc:sldChg chg="addSp delSp modSp mod">
        <pc:chgData name="Schwander Nathalie (HKBB)" userId="1ddde273-4c63-446d-8aec-866cb2e465f8" providerId="ADAL" clId="{A72CCBD9-08E7-4D8B-B22F-B359699A47C4}" dt="2025-01-17T16:02:50.681" v="175" actId="1076"/>
        <pc:sldMkLst>
          <pc:docMk/>
          <pc:sldMk cId="3994852623" sldId="2134804380"/>
        </pc:sldMkLst>
      </pc:sldChg>
      <pc:sldChg chg="addSp delSp modSp add mod ord">
        <pc:chgData name="Schwander Nathalie (HKBB)" userId="1ddde273-4c63-446d-8aec-866cb2e465f8" providerId="ADAL" clId="{A72CCBD9-08E7-4D8B-B22F-B359699A47C4}" dt="2025-01-17T15:59:30.002" v="150" actId="20577"/>
        <pc:sldMkLst>
          <pc:docMk/>
          <pc:sldMk cId="2898433376" sldId="2134804381"/>
        </pc:sldMkLst>
      </pc:sldChg>
      <pc:sldChg chg="modSp add mod">
        <pc:chgData name="Schwander Nathalie (HKBB)" userId="1ddde273-4c63-446d-8aec-866cb2e465f8" providerId="ADAL" clId="{A72CCBD9-08E7-4D8B-B22F-B359699A47C4}" dt="2025-01-17T15:56:25.566" v="126" actId="1076"/>
        <pc:sldMkLst>
          <pc:docMk/>
          <pc:sldMk cId="3403175453" sldId="2134804382"/>
        </pc:sldMkLst>
      </pc:sldChg>
      <pc:sldChg chg="delSp modSp add mod">
        <pc:chgData name="Schwander Nathalie (HKBB)" userId="1ddde273-4c63-446d-8aec-866cb2e465f8" providerId="ADAL" clId="{A72CCBD9-08E7-4D8B-B22F-B359699A47C4}" dt="2025-01-17T15:59:44.443" v="153"/>
        <pc:sldMkLst>
          <pc:docMk/>
          <pc:sldMk cId="4265587955" sldId="2134804383"/>
        </pc:sldMkLst>
      </pc:sldChg>
      <pc:sldChg chg="addSp modSp mod">
        <pc:chgData name="Schwander Nathalie (HKBB)" userId="1ddde273-4c63-446d-8aec-866cb2e465f8" providerId="ADAL" clId="{A72CCBD9-08E7-4D8B-B22F-B359699A47C4}" dt="2025-01-17T16:00:06.065" v="161" actId="20577"/>
        <pc:sldMkLst>
          <pc:docMk/>
          <pc:sldMk cId="2134818772" sldId="2134804384"/>
        </pc:sldMkLst>
      </pc:sldChg>
      <pc:sldChg chg="delSp modSp mod">
        <pc:chgData name="Schwander Nathalie (HKBB)" userId="1ddde273-4c63-446d-8aec-866cb2e465f8" providerId="ADAL" clId="{A72CCBD9-08E7-4D8B-B22F-B359699A47C4}" dt="2025-01-17T15:53:36.106" v="108" actId="14100"/>
        <pc:sldMkLst>
          <pc:docMk/>
          <pc:sldMk cId="3074858380" sldId="2134804385"/>
        </pc:sldMkLst>
      </pc:sldChg>
      <pc:sldChg chg="addSp modSp add mod">
        <pc:chgData name="Schwander Nathalie (HKBB)" userId="1ddde273-4c63-446d-8aec-866cb2e465f8" providerId="ADAL" clId="{A72CCBD9-08E7-4D8B-B22F-B359699A47C4}" dt="2025-01-20T10:45:26.237" v="187" actId="20577"/>
        <pc:sldMkLst>
          <pc:docMk/>
          <pc:sldMk cId="793248184" sldId="2134804386"/>
        </pc:sldMkLst>
      </pc:sldChg>
      <pc:sldChg chg="add">
        <pc:chgData name="Schwander Nathalie (HKBB)" userId="1ddde273-4c63-446d-8aec-866cb2e465f8" providerId="ADAL" clId="{A72CCBD9-08E7-4D8B-B22F-B359699A47C4}" dt="2025-01-20T10:44:43.383" v="176"/>
        <pc:sldMkLst>
          <pc:docMk/>
          <pc:sldMk cId="2044836057" sldId="2134804387"/>
        </pc:sldMkLst>
      </pc:sldChg>
      <pc:sldChg chg="add del">
        <pc:chgData name="Schwander Nathalie (HKBB)" userId="1ddde273-4c63-446d-8aec-866cb2e465f8" providerId="ADAL" clId="{A72CCBD9-08E7-4D8B-B22F-B359699A47C4}" dt="2025-01-20T10:45:09.102" v="179"/>
        <pc:sldMkLst>
          <pc:docMk/>
          <pc:sldMk cId="1190336208" sldId="2134804388"/>
        </pc:sldMkLst>
      </pc:sldChg>
    </pc:docChg>
  </pc:docChgLst>
  <pc:docChgLst>
    <pc:chgData name="Raaflaub Brigitte (HKBB)" userId="S::b.raaflaub@hkbb.ch::898427e0-eac9-43b3-88d7-c5a51a2fe9c7" providerId="AD" clId="Web-{164186A1-1DDB-08AE-AFB8-455650D21414}"/>
    <pc:docChg chg="mod modSld">
      <pc:chgData name="Raaflaub Brigitte (HKBB)" userId="S::b.raaflaub@hkbb.ch::898427e0-eac9-43b3-88d7-c5a51a2fe9c7" providerId="AD" clId="Web-{164186A1-1DDB-08AE-AFB8-455650D21414}" dt="2024-10-15T11:26:34.963" v="5"/>
      <pc:docMkLst>
        <pc:docMk/>
      </pc:docMkLst>
      <pc:sldChg chg="addSp modSp">
        <pc:chgData name="Raaflaub Brigitte (HKBB)" userId="S::b.raaflaub@hkbb.ch::898427e0-eac9-43b3-88d7-c5a51a2fe9c7" providerId="AD" clId="Web-{164186A1-1DDB-08AE-AFB8-455650D21414}" dt="2024-10-15T11:26:28.447" v="4" actId="20577"/>
        <pc:sldMkLst>
          <pc:docMk/>
          <pc:sldMk cId="2314239642" sldId="680"/>
        </pc:sldMkLst>
      </pc:sldChg>
      <pc:sldChg chg="addSp">
        <pc:chgData name="Raaflaub Brigitte (HKBB)" userId="S::b.raaflaub@hkbb.ch::898427e0-eac9-43b3-88d7-c5a51a2fe9c7" providerId="AD" clId="Web-{164186A1-1DDB-08AE-AFB8-455650D21414}" dt="2024-10-15T11:26:34.963" v="5"/>
        <pc:sldMkLst>
          <pc:docMk/>
          <pc:sldMk cId="4257588460" sldId="681"/>
        </pc:sldMkLst>
      </pc:sldChg>
    </pc:docChg>
  </pc:docChgLst>
  <pc:docChgLst>
    <pc:chgData name="Zaugg Patrick (HKBB)" userId="2099f861-9868-4dbd-bfa0-2030227c42fd" providerId="ADAL" clId="{7505D0B8-4710-4011-BCDD-BE58BE0D424A}"/>
    <pc:docChg chg="custSel modSld">
      <pc:chgData name="Zaugg Patrick (HKBB)" userId="2099f861-9868-4dbd-bfa0-2030227c42fd" providerId="ADAL" clId="{7505D0B8-4710-4011-BCDD-BE58BE0D424A}" dt="2025-03-11T12:43:43.976" v="1" actId="478"/>
      <pc:docMkLst>
        <pc:docMk/>
      </pc:docMkLst>
      <pc:sldChg chg="delSp mod">
        <pc:chgData name="Zaugg Patrick (HKBB)" userId="2099f861-9868-4dbd-bfa0-2030227c42fd" providerId="ADAL" clId="{7505D0B8-4710-4011-BCDD-BE58BE0D424A}" dt="2025-03-11T12:43:38.845" v="0" actId="478"/>
        <pc:sldMkLst>
          <pc:docMk/>
          <pc:sldMk cId="3646014116" sldId="2134804390"/>
        </pc:sldMkLst>
      </pc:sldChg>
      <pc:sldChg chg="delSp mod">
        <pc:chgData name="Zaugg Patrick (HKBB)" userId="2099f861-9868-4dbd-bfa0-2030227c42fd" providerId="ADAL" clId="{7505D0B8-4710-4011-BCDD-BE58BE0D424A}" dt="2025-03-11T12:43:43.976" v="1" actId="478"/>
        <pc:sldMkLst>
          <pc:docMk/>
          <pc:sldMk cId="1739579287" sldId="2134804391"/>
        </pc:sldMkLst>
      </pc:sldChg>
    </pc:docChg>
  </pc:docChgLst>
  <pc:docChgLst>
    <pc:chgData name="Hofer Stefanie (HKBB)" userId="S::s.lenz@hkbb.ch::bbfc8bf1-093f-4561-bc99-19994a05dafd" providerId="AD" clId="Web-{85A24E01-E922-F0C1-B6E2-B6BAAC103DD4}"/>
    <pc:docChg chg="modSld">
      <pc:chgData name="Hofer Stefanie (HKBB)" userId="S::s.lenz@hkbb.ch::bbfc8bf1-093f-4561-bc99-19994a05dafd" providerId="AD" clId="Web-{85A24E01-E922-F0C1-B6E2-B6BAAC103DD4}" dt="2025-03-10T06:57:49.118" v="28" actId="20577"/>
      <pc:docMkLst>
        <pc:docMk/>
      </pc:docMkLst>
      <pc:sldChg chg="addSp modSp">
        <pc:chgData name="Hofer Stefanie (HKBB)" userId="S::s.lenz@hkbb.ch::bbfc8bf1-093f-4561-bc99-19994a05dafd" providerId="AD" clId="Web-{85A24E01-E922-F0C1-B6E2-B6BAAC103DD4}" dt="2025-03-10T06:39:41.420" v="1"/>
        <pc:sldMkLst>
          <pc:docMk/>
          <pc:sldMk cId="911001025" sldId="519"/>
        </pc:sldMkLst>
        <pc:spChg chg="add mod">
          <ac:chgData name="Hofer Stefanie (HKBB)" userId="S::s.lenz@hkbb.ch::bbfc8bf1-093f-4561-bc99-19994a05dafd" providerId="AD" clId="Web-{85A24E01-E922-F0C1-B6E2-B6BAAC103DD4}" dt="2025-03-10T06:39:41.405" v="0"/>
          <ac:spMkLst>
            <pc:docMk/>
            <pc:sldMk cId="911001025" sldId="519"/>
            <ac:spMk id="5" creationId="{89BACA8D-BACD-D185-BF75-D1880C5EA0B1}"/>
          </ac:spMkLst>
        </pc:spChg>
        <pc:spChg chg="add">
          <ac:chgData name="Hofer Stefanie (HKBB)" userId="S::s.lenz@hkbb.ch::bbfc8bf1-093f-4561-bc99-19994a05dafd" providerId="AD" clId="Web-{85A24E01-E922-F0C1-B6E2-B6BAAC103DD4}" dt="2025-03-10T06:39:41.420" v="1"/>
          <ac:spMkLst>
            <pc:docMk/>
            <pc:sldMk cId="911001025" sldId="519"/>
            <ac:spMk id="7" creationId="{ED0D6657-042B-1B38-E2AB-44F9D687600F}"/>
          </ac:spMkLst>
        </pc:spChg>
      </pc:sldChg>
      <pc:sldChg chg="modSp">
        <pc:chgData name="Hofer Stefanie (HKBB)" userId="S::s.lenz@hkbb.ch::bbfc8bf1-093f-4561-bc99-19994a05dafd" providerId="AD" clId="Web-{85A24E01-E922-F0C1-B6E2-B6BAAC103DD4}" dt="2025-03-10T06:57:49.118" v="28" actId="20577"/>
        <pc:sldMkLst>
          <pc:docMk/>
          <pc:sldMk cId="2996992431" sldId="675"/>
        </pc:sldMkLst>
        <pc:spChg chg="mod">
          <ac:chgData name="Hofer Stefanie (HKBB)" userId="S::s.lenz@hkbb.ch::bbfc8bf1-093f-4561-bc99-19994a05dafd" providerId="AD" clId="Web-{85A24E01-E922-F0C1-B6E2-B6BAAC103DD4}" dt="2025-03-10T06:57:49.118" v="28" actId="20577"/>
          <ac:spMkLst>
            <pc:docMk/>
            <pc:sldMk cId="2996992431" sldId="675"/>
            <ac:spMk id="6" creationId="{9539B0D8-58DD-40F8-5803-759B1F9685A2}"/>
          </ac:spMkLst>
        </pc:spChg>
      </pc:sldChg>
    </pc:docChg>
  </pc:docChgLst>
  <pc:docChgLst>
    <pc:chgData name="Schwander Nathalie (HKBB)" userId="1ddde273-4c63-446d-8aec-866cb2e465f8" providerId="ADAL" clId="{A4FFEFD1-7133-4425-A99A-8CFBFA031BC0}"/>
    <pc:docChg chg="undo custSel modSld modMainMaster">
      <pc:chgData name="Schwander Nathalie (HKBB)" userId="1ddde273-4c63-446d-8aec-866cb2e465f8" providerId="ADAL" clId="{A4FFEFD1-7133-4425-A99A-8CFBFA031BC0}" dt="2024-05-14T14:17:53.625" v="565" actId="478"/>
      <pc:docMkLst>
        <pc:docMk/>
      </pc:docMkLst>
      <pc:sldChg chg="modSp mod">
        <pc:chgData name="Schwander Nathalie (HKBB)" userId="1ddde273-4c63-446d-8aec-866cb2e465f8" providerId="ADAL" clId="{A4FFEFD1-7133-4425-A99A-8CFBFA031BC0}" dt="2024-05-14T14:11:48.491" v="529" actId="6549"/>
        <pc:sldMkLst>
          <pc:docMk/>
          <pc:sldMk cId="0" sldId="256"/>
        </pc:sldMkLst>
      </pc:sldChg>
      <pc:sldChg chg="delSp mod">
        <pc:chgData name="Schwander Nathalie (HKBB)" userId="1ddde273-4c63-446d-8aec-866cb2e465f8" providerId="ADAL" clId="{A4FFEFD1-7133-4425-A99A-8CFBFA031BC0}" dt="2024-05-14T14:16:56.077" v="552" actId="478"/>
        <pc:sldMkLst>
          <pc:docMk/>
          <pc:sldMk cId="2982702812" sldId="379"/>
        </pc:sldMkLst>
      </pc:sldChg>
      <pc:sldChg chg="delSp mod">
        <pc:chgData name="Schwander Nathalie (HKBB)" userId="1ddde273-4c63-446d-8aec-866cb2e465f8" providerId="ADAL" clId="{A4FFEFD1-7133-4425-A99A-8CFBFA031BC0}" dt="2024-05-14T14:17:00.074" v="553" actId="478"/>
        <pc:sldMkLst>
          <pc:docMk/>
          <pc:sldMk cId="65065524" sldId="386"/>
        </pc:sldMkLst>
      </pc:sldChg>
      <pc:sldChg chg="delSp mod">
        <pc:chgData name="Schwander Nathalie (HKBB)" userId="1ddde273-4c63-446d-8aec-866cb2e465f8" providerId="ADAL" clId="{A4FFEFD1-7133-4425-A99A-8CFBFA031BC0}" dt="2024-05-14T14:17:07.200" v="554" actId="478"/>
        <pc:sldMkLst>
          <pc:docMk/>
          <pc:sldMk cId="1743774651" sldId="394"/>
        </pc:sldMkLst>
      </pc:sldChg>
      <pc:sldChg chg="delSp modSp mod">
        <pc:chgData name="Schwander Nathalie (HKBB)" userId="1ddde273-4c63-446d-8aec-866cb2e465f8" providerId="ADAL" clId="{A4FFEFD1-7133-4425-A99A-8CFBFA031BC0}" dt="2024-05-14T14:17:40.955" v="562" actId="478"/>
        <pc:sldMkLst>
          <pc:docMk/>
          <pc:sldMk cId="1494579602" sldId="416"/>
        </pc:sldMkLst>
      </pc:sldChg>
      <pc:sldChg chg="delSp mod">
        <pc:chgData name="Schwander Nathalie (HKBB)" userId="1ddde273-4c63-446d-8aec-866cb2e465f8" providerId="ADAL" clId="{A4FFEFD1-7133-4425-A99A-8CFBFA031BC0}" dt="2024-05-14T14:17:44.897" v="563" actId="478"/>
        <pc:sldMkLst>
          <pc:docMk/>
          <pc:sldMk cId="1585631509" sldId="524"/>
        </pc:sldMkLst>
      </pc:sldChg>
      <pc:sldChg chg="addSp delSp modSp mod">
        <pc:chgData name="Schwander Nathalie (HKBB)" userId="1ddde273-4c63-446d-8aec-866cb2e465f8" providerId="ADAL" clId="{A4FFEFD1-7133-4425-A99A-8CFBFA031BC0}" dt="2024-05-14T14:17:20.928" v="556" actId="478"/>
        <pc:sldMkLst>
          <pc:docMk/>
          <pc:sldMk cId="350616736" sldId="545"/>
        </pc:sldMkLst>
      </pc:sldChg>
      <pc:sldChg chg="delSp modSp mod">
        <pc:chgData name="Schwander Nathalie (HKBB)" userId="1ddde273-4c63-446d-8aec-866cb2e465f8" providerId="ADAL" clId="{A4FFEFD1-7133-4425-A99A-8CFBFA031BC0}" dt="2024-05-14T14:17:49.341" v="564" actId="478"/>
        <pc:sldMkLst>
          <pc:docMk/>
          <pc:sldMk cId="453062407" sldId="555"/>
        </pc:sldMkLst>
      </pc:sldChg>
      <pc:sldChg chg="delSp modSp mod">
        <pc:chgData name="Schwander Nathalie (HKBB)" userId="1ddde273-4c63-446d-8aec-866cb2e465f8" providerId="ADAL" clId="{A4FFEFD1-7133-4425-A99A-8CFBFA031BC0}" dt="2024-05-14T14:17:53.625" v="565" actId="478"/>
        <pc:sldMkLst>
          <pc:docMk/>
          <pc:sldMk cId="3800843079" sldId="558"/>
        </pc:sldMkLst>
      </pc:sldChg>
      <pc:sldChg chg="modSp mod">
        <pc:chgData name="Schwander Nathalie (HKBB)" userId="1ddde273-4c63-446d-8aec-866cb2e465f8" providerId="ADAL" clId="{A4FFEFD1-7133-4425-A99A-8CFBFA031BC0}" dt="2024-05-02T14:50:44.882" v="37" actId="20577"/>
        <pc:sldMkLst>
          <pc:docMk/>
          <pc:sldMk cId="2996992431" sldId="675"/>
        </pc:sldMkLst>
      </pc:sldChg>
      <pc:sldChg chg="modSp mod">
        <pc:chgData name="Schwander Nathalie (HKBB)" userId="1ddde273-4c63-446d-8aec-866cb2e465f8" providerId="ADAL" clId="{A4FFEFD1-7133-4425-A99A-8CFBFA031BC0}" dt="2024-05-14T14:06:48.089" v="490" actId="1076"/>
        <pc:sldMkLst>
          <pc:docMk/>
          <pc:sldMk cId="2314239642" sldId="680"/>
        </pc:sldMkLst>
      </pc:sldChg>
      <pc:sldChg chg="modSp mod">
        <pc:chgData name="Schwander Nathalie (HKBB)" userId="1ddde273-4c63-446d-8aec-866cb2e465f8" providerId="ADAL" clId="{A4FFEFD1-7133-4425-A99A-8CFBFA031BC0}" dt="2024-05-14T14:09:28.384" v="515" actId="1076"/>
        <pc:sldMkLst>
          <pc:docMk/>
          <pc:sldMk cId="4257588460" sldId="681"/>
        </pc:sldMkLst>
      </pc:sldChg>
      <pc:sldChg chg="delSp modSp mod">
        <pc:chgData name="Schwander Nathalie (HKBB)" userId="1ddde273-4c63-446d-8aec-866cb2e465f8" providerId="ADAL" clId="{A4FFEFD1-7133-4425-A99A-8CFBFA031BC0}" dt="2024-05-14T14:17:35.156" v="559" actId="478"/>
        <pc:sldMkLst>
          <pc:docMk/>
          <pc:sldMk cId="573609149" sldId="684"/>
        </pc:sldMkLst>
      </pc:sldChg>
      <pc:sldChg chg="delSp modSp mod">
        <pc:chgData name="Schwander Nathalie (HKBB)" userId="1ddde273-4c63-446d-8aec-866cb2e465f8" providerId="ADAL" clId="{A4FFEFD1-7133-4425-A99A-8CFBFA031BC0}" dt="2024-05-14T14:17:13.187" v="555" actId="478"/>
        <pc:sldMkLst>
          <pc:docMk/>
          <pc:sldMk cId="786413827" sldId="685"/>
        </pc:sldMkLst>
      </pc:sldChg>
      <pc:sldChg chg="modSp mod">
        <pc:chgData name="Schwander Nathalie (HKBB)" userId="1ddde273-4c63-446d-8aec-866cb2e465f8" providerId="ADAL" clId="{A4FFEFD1-7133-4425-A99A-8CFBFA031BC0}" dt="2024-05-14T09:08:41.131" v="113" actId="6549"/>
        <pc:sldMkLst>
          <pc:docMk/>
          <pc:sldMk cId="2461901869" sldId="687"/>
        </pc:sldMkLst>
      </pc:sldChg>
      <pc:sldChg chg="delSp modSp mod">
        <pc:chgData name="Schwander Nathalie (HKBB)" userId="1ddde273-4c63-446d-8aec-866cb2e465f8" providerId="ADAL" clId="{A4FFEFD1-7133-4425-A99A-8CFBFA031BC0}" dt="2024-05-14T14:16:48.408" v="551" actId="478"/>
        <pc:sldMkLst>
          <pc:docMk/>
          <pc:sldMk cId="3749052628" sldId="688"/>
        </pc:sldMkLst>
      </pc:sldChg>
      <pc:sldChg chg="delSp modSp mod">
        <pc:chgData name="Schwander Nathalie (HKBB)" userId="1ddde273-4c63-446d-8aec-866cb2e465f8" providerId="ADAL" clId="{A4FFEFD1-7133-4425-A99A-8CFBFA031BC0}" dt="2024-05-14T14:17:26.929" v="558" actId="478"/>
        <pc:sldMkLst>
          <pc:docMk/>
          <pc:sldMk cId="1461949641" sldId="689"/>
        </pc:sldMkLst>
      </pc:sldChg>
      <pc:sldMasterChg chg="delSp modSp mod modSldLayout">
        <pc:chgData name="Schwander Nathalie (HKBB)" userId="1ddde273-4c63-446d-8aec-866cb2e465f8" providerId="ADAL" clId="{A4FFEFD1-7133-4425-A99A-8CFBFA031BC0}" dt="2024-05-14T14:15:23.055" v="550" actId="478"/>
        <pc:sldMasterMkLst>
          <pc:docMk/>
          <pc:sldMasterMk cId="1759221374" sldId="2147483670"/>
        </pc:sldMasterMkLst>
        <pc:sldLayoutChg chg="delSp mod">
          <pc:chgData name="Schwander Nathalie (HKBB)" userId="1ddde273-4c63-446d-8aec-866cb2e465f8" providerId="ADAL" clId="{A4FFEFD1-7133-4425-A99A-8CFBFA031BC0}" dt="2024-05-14T14:14:23.014" v="543" actId="478"/>
          <pc:sldLayoutMkLst>
            <pc:docMk/>
            <pc:sldMasterMk cId="1759221374" sldId="2147483670"/>
            <pc:sldLayoutMk cId="1455914863" sldId="2147483672"/>
          </pc:sldLayoutMkLst>
        </pc:sldLayoutChg>
        <pc:sldLayoutChg chg="delSp mod">
          <pc:chgData name="Schwander Nathalie (HKBB)" userId="1ddde273-4c63-446d-8aec-866cb2e465f8" providerId="ADAL" clId="{A4FFEFD1-7133-4425-A99A-8CFBFA031BC0}" dt="2024-05-14T14:14:27.111" v="544" actId="478"/>
          <pc:sldLayoutMkLst>
            <pc:docMk/>
            <pc:sldMasterMk cId="1759221374" sldId="2147483670"/>
            <pc:sldLayoutMk cId="2881509035" sldId="2147483674"/>
          </pc:sldLayoutMkLst>
        </pc:sldLayoutChg>
        <pc:sldLayoutChg chg="delSp mod">
          <pc:chgData name="Schwander Nathalie (HKBB)" userId="1ddde273-4c63-446d-8aec-866cb2e465f8" providerId="ADAL" clId="{A4FFEFD1-7133-4425-A99A-8CFBFA031BC0}" dt="2024-05-14T14:14:32.944" v="545" actId="478"/>
          <pc:sldLayoutMkLst>
            <pc:docMk/>
            <pc:sldMasterMk cId="1759221374" sldId="2147483670"/>
            <pc:sldLayoutMk cId="1473404180" sldId="2147483678"/>
          </pc:sldLayoutMkLst>
        </pc:sldLayoutChg>
        <pc:sldLayoutChg chg="delSp mod">
          <pc:chgData name="Schwander Nathalie (HKBB)" userId="1ddde273-4c63-446d-8aec-866cb2e465f8" providerId="ADAL" clId="{A4FFEFD1-7133-4425-A99A-8CFBFA031BC0}" dt="2024-05-14T14:14:36.364" v="546" actId="478"/>
          <pc:sldLayoutMkLst>
            <pc:docMk/>
            <pc:sldMasterMk cId="1759221374" sldId="2147483670"/>
            <pc:sldLayoutMk cId="3894423245" sldId="2147483679"/>
          </pc:sldLayoutMkLst>
        </pc:sldLayoutChg>
        <pc:sldLayoutChg chg="delSp mod">
          <pc:chgData name="Schwander Nathalie (HKBB)" userId="1ddde273-4c63-446d-8aec-866cb2e465f8" providerId="ADAL" clId="{A4FFEFD1-7133-4425-A99A-8CFBFA031BC0}" dt="2024-05-14T14:14:41.919" v="547" actId="478"/>
          <pc:sldLayoutMkLst>
            <pc:docMk/>
            <pc:sldMasterMk cId="1759221374" sldId="2147483670"/>
            <pc:sldLayoutMk cId="407704398" sldId="2147483680"/>
          </pc:sldLayoutMkLst>
        </pc:sldLayoutChg>
        <pc:sldLayoutChg chg="modSp mod">
          <pc:chgData name="Schwander Nathalie (HKBB)" userId="1ddde273-4c63-446d-8aec-866cb2e465f8" providerId="ADAL" clId="{A4FFEFD1-7133-4425-A99A-8CFBFA031BC0}" dt="2024-05-02T14:51:29.549" v="107" actId="20577"/>
          <pc:sldLayoutMkLst>
            <pc:docMk/>
            <pc:sldMasterMk cId="1759221374" sldId="2147483670"/>
            <pc:sldLayoutMk cId="2229963026" sldId="2147483681"/>
          </pc:sldLayoutMkLst>
        </pc:sldLayoutChg>
        <pc:sldLayoutChg chg="delSp mod">
          <pc:chgData name="Schwander Nathalie (HKBB)" userId="1ddde273-4c63-446d-8aec-866cb2e465f8" providerId="ADAL" clId="{A4FFEFD1-7133-4425-A99A-8CFBFA031BC0}" dt="2024-05-14T14:15:23.055" v="550" actId="478"/>
          <pc:sldLayoutMkLst>
            <pc:docMk/>
            <pc:sldMasterMk cId="1759221374" sldId="2147483670"/>
            <pc:sldLayoutMk cId="3562080500" sldId="2147483682"/>
          </pc:sldLayoutMkLst>
        </pc:sldLayoutChg>
        <pc:sldLayoutChg chg="delSp mod">
          <pc:chgData name="Schwander Nathalie (HKBB)" userId="1ddde273-4c63-446d-8aec-866cb2e465f8" providerId="ADAL" clId="{A4FFEFD1-7133-4425-A99A-8CFBFA031BC0}" dt="2024-05-14T14:15:18.256" v="549" actId="478"/>
          <pc:sldLayoutMkLst>
            <pc:docMk/>
            <pc:sldMasterMk cId="1759221374" sldId="2147483670"/>
            <pc:sldLayoutMk cId="1033131049" sldId="2147483684"/>
          </pc:sldLayoutMkLst>
        </pc:sldLayoutChg>
        <pc:sldLayoutChg chg="delSp mod">
          <pc:chgData name="Schwander Nathalie (HKBB)" userId="1ddde273-4c63-446d-8aec-866cb2e465f8" providerId="ADAL" clId="{A4FFEFD1-7133-4425-A99A-8CFBFA031BC0}" dt="2024-05-14T14:15:11.566" v="548" actId="478"/>
          <pc:sldLayoutMkLst>
            <pc:docMk/>
            <pc:sldMasterMk cId="1759221374" sldId="2147483670"/>
            <pc:sldLayoutMk cId="2287322653" sldId="2147483729"/>
          </pc:sldLayoutMkLst>
        </pc:sldLayoutChg>
      </pc:sldMasterChg>
    </pc:docChg>
  </pc:docChgLst>
  <pc:docChgLst>
    <pc:chgData name="Hofer Stefanie (HKBB)" userId="bbfc8bf1-093f-4561-bc99-19994a05dafd" providerId="ADAL" clId="{3AFAA646-271F-412A-8740-3A45E02DE09D}"/>
    <pc:docChg chg="undo custSel modSld">
      <pc:chgData name="Hofer Stefanie (HKBB)" userId="bbfc8bf1-093f-4561-bc99-19994a05dafd" providerId="ADAL" clId="{3AFAA646-271F-412A-8740-3A45E02DE09D}" dt="2025-01-22T09:31:46.964" v="109" actId="20577"/>
      <pc:docMkLst>
        <pc:docMk/>
      </pc:docMkLst>
      <pc:sldChg chg="modSp mod">
        <pc:chgData name="Hofer Stefanie (HKBB)" userId="bbfc8bf1-093f-4561-bc99-19994a05dafd" providerId="ADAL" clId="{3AFAA646-271F-412A-8740-3A45E02DE09D}" dt="2025-01-22T09:31:20.897" v="97" actId="108"/>
        <pc:sldMkLst>
          <pc:docMk/>
          <pc:sldMk cId="453062407" sldId="555"/>
        </pc:sldMkLst>
      </pc:sldChg>
      <pc:sldChg chg="modSp mod">
        <pc:chgData name="Hofer Stefanie (HKBB)" userId="bbfc8bf1-093f-4561-bc99-19994a05dafd" providerId="ADAL" clId="{3AFAA646-271F-412A-8740-3A45E02DE09D}" dt="2025-01-22T09:31:46.964" v="109" actId="20577"/>
        <pc:sldMkLst>
          <pc:docMk/>
          <pc:sldMk cId="3800843079" sldId="558"/>
        </pc:sldMkLst>
        <pc:spChg chg="mod">
          <ac:chgData name="Hofer Stefanie (HKBB)" userId="bbfc8bf1-093f-4561-bc99-19994a05dafd" providerId="ADAL" clId="{3AFAA646-271F-412A-8740-3A45E02DE09D}" dt="2025-01-22T09:31:46.964" v="109" actId="20577"/>
          <ac:spMkLst>
            <pc:docMk/>
            <pc:sldMk cId="3800843079" sldId="558"/>
            <ac:spMk id="3" creationId="{00000000-0000-0000-0000-000000000000}"/>
          </ac:spMkLst>
        </pc:spChg>
      </pc:sldChg>
    </pc:docChg>
  </pc:docChgLst>
  <pc:docChgLst>
    <pc:chgData name="Schweizer Gabriel (HKBB)" userId="65cf39ad-0784-4b9b-8fe8-13d2a317f78f" providerId="ADAL" clId="{AE626A5F-4E9B-4741-97E8-57A507C24A88}"/>
    <pc:docChg chg="modSld sldOrd">
      <pc:chgData name="Schweizer Gabriel (HKBB)" userId="65cf39ad-0784-4b9b-8fe8-13d2a317f78f" providerId="ADAL" clId="{AE626A5F-4E9B-4741-97E8-57A507C24A88}" dt="2025-03-24T08:32:50.063" v="3" actId="729"/>
      <pc:docMkLst>
        <pc:docMk/>
      </pc:docMkLst>
      <pc:sldChg chg="mod modShow">
        <pc:chgData name="Schweizer Gabriel (HKBB)" userId="65cf39ad-0784-4b9b-8fe8-13d2a317f78f" providerId="ADAL" clId="{AE626A5F-4E9B-4741-97E8-57A507C24A88}" dt="2025-03-24T08:32:45.861" v="2" actId="729"/>
        <pc:sldMkLst>
          <pc:docMk/>
          <pc:sldMk cId="1596061055" sldId="683"/>
        </pc:sldMkLst>
      </pc:sldChg>
      <pc:sldChg chg="mod ord modShow">
        <pc:chgData name="Schweizer Gabriel (HKBB)" userId="65cf39ad-0784-4b9b-8fe8-13d2a317f78f" providerId="ADAL" clId="{AE626A5F-4E9B-4741-97E8-57A507C24A88}" dt="2025-03-24T08:32:50.063" v="3" actId="729"/>
        <pc:sldMkLst>
          <pc:docMk/>
          <pc:sldMk cId="1504951016" sldId="2134804395"/>
        </pc:sldMkLst>
      </pc:sldChg>
      <pc:sldChg chg="mod modShow">
        <pc:chgData name="Schweizer Gabriel (HKBB)" userId="65cf39ad-0784-4b9b-8fe8-13d2a317f78f" providerId="ADAL" clId="{AE626A5F-4E9B-4741-97E8-57A507C24A88}" dt="2025-03-24T08:32:50.063" v="3" actId="729"/>
        <pc:sldMkLst>
          <pc:docMk/>
          <pc:sldMk cId="664244944" sldId="2134804396"/>
        </pc:sldMkLst>
      </pc:sldChg>
      <pc:sldChg chg="mod modShow">
        <pc:chgData name="Schweizer Gabriel (HKBB)" userId="65cf39ad-0784-4b9b-8fe8-13d2a317f78f" providerId="ADAL" clId="{AE626A5F-4E9B-4741-97E8-57A507C24A88}" dt="2025-03-24T08:32:45.861" v="2" actId="729"/>
        <pc:sldMkLst>
          <pc:docMk/>
          <pc:sldMk cId="137302776" sldId="2134804398"/>
        </pc:sldMkLst>
      </pc:sldChg>
      <pc:sldChg chg="mod modShow">
        <pc:chgData name="Schweizer Gabriel (HKBB)" userId="65cf39ad-0784-4b9b-8fe8-13d2a317f78f" providerId="ADAL" clId="{AE626A5F-4E9B-4741-97E8-57A507C24A88}" dt="2025-03-24T08:32:45.861" v="2" actId="729"/>
        <pc:sldMkLst>
          <pc:docMk/>
          <pc:sldMk cId="2280442076" sldId="2134804399"/>
        </pc:sldMkLst>
      </pc:sldChg>
      <pc:sldChg chg="mod modShow">
        <pc:chgData name="Schweizer Gabriel (HKBB)" userId="65cf39ad-0784-4b9b-8fe8-13d2a317f78f" providerId="ADAL" clId="{AE626A5F-4E9B-4741-97E8-57A507C24A88}" dt="2025-03-24T08:32:45.861" v="2" actId="729"/>
        <pc:sldMkLst>
          <pc:docMk/>
          <pc:sldMk cId="4143817569" sldId="2134804400"/>
        </pc:sldMkLst>
      </pc:sldChg>
      <pc:sldChg chg="mod modShow">
        <pc:chgData name="Schweizer Gabriel (HKBB)" userId="65cf39ad-0784-4b9b-8fe8-13d2a317f78f" providerId="ADAL" clId="{AE626A5F-4E9B-4741-97E8-57A507C24A88}" dt="2025-03-24T08:32:45.861" v="2" actId="729"/>
        <pc:sldMkLst>
          <pc:docMk/>
          <pc:sldMk cId="2081230883" sldId="2134804401"/>
        </pc:sldMkLst>
      </pc:sldChg>
      <pc:sldChg chg="mod modShow">
        <pc:chgData name="Schweizer Gabriel (HKBB)" userId="65cf39ad-0784-4b9b-8fe8-13d2a317f78f" providerId="ADAL" clId="{AE626A5F-4E9B-4741-97E8-57A507C24A88}" dt="2025-03-24T08:32:45.861" v="2" actId="729"/>
        <pc:sldMkLst>
          <pc:docMk/>
          <pc:sldMk cId="4081223526" sldId="2134804402"/>
        </pc:sldMkLst>
      </pc:sldChg>
      <pc:sldChg chg="mod modShow">
        <pc:chgData name="Schweizer Gabriel (HKBB)" userId="65cf39ad-0784-4b9b-8fe8-13d2a317f78f" providerId="ADAL" clId="{AE626A5F-4E9B-4741-97E8-57A507C24A88}" dt="2025-03-24T08:32:45.861" v="2" actId="729"/>
        <pc:sldMkLst>
          <pc:docMk/>
          <pc:sldMk cId="3464725709" sldId="2134804403"/>
        </pc:sldMkLst>
      </pc:sldChg>
      <pc:sldChg chg="mod modShow">
        <pc:chgData name="Schweizer Gabriel (HKBB)" userId="65cf39ad-0784-4b9b-8fe8-13d2a317f78f" providerId="ADAL" clId="{AE626A5F-4E9B-4741-97E8-57A507C24A88}" dt="2025-03-24T08:32:45.861" v="2" actId="729"/>
        <pc:sldMkLst>
          <pc:docMk/>
          <pc:sldMk cId="435686270" sldId="2134804404"/>
        </pc:sldMkLst>
      </pc:sldChg>
    </pc:docChg>
  </pc:docChgLst>
  <pc:docChgLst>
    <pc:chgData name="Schwander Nathalie (HKBB)" userId="S::n.schwander@hkbb.ch::1ddde273-4c63-446d-8aec-866cb2e465f8" providerId="AD" clId="Web-{202B5CA0-C92F-45BC-BC2E-D21CF3D9EC8A}"/>
    <pc:docChg chg="modSld">
      <pc:chgData name="Schwander Nathalie (HKBB)" userId="S::n.schwander@hkbb.ch::1ddde273-4c63-446d-8aec-866cb2e465f8" providerId="AD" clId="Web-{202B5CA0-C92F-45BC-BC2E-D21CF3D9EC8A}" dt="2024-01-25T07:06:17.302" v="36" actId="20577"/>
      <pc:docMkLst>
        <pc:docMk/>
      </pc:docMkLst>
      <pc:sldChg chg="modSp">
        <pc:chgData name="Schwander Nathalie (HKBB)" userId="S::n.schwander@hkbb.ch::1ddde273-4c63-446d-8aec-866cb2e465f8" providerId="AD" clId="Web-{202B5CA0-C92F-45BC-BC2E-D21CF3D9EC8A}" dt="2024-01-25T07:06:17.302" v="36" actId="20577"/>
        <pc:sldMkLst>
          <pc:docMk/>
          <pc:sldMk cId="2996992431" sldId="675"/>
        </pc:sldMkLst>
      </pc:sldChg>
    </pc:docChg>
  </pc:docChgLst>
  <pc:docChgLst>
    <pc:chgData name="Raaflaub Brigitte (HKBB)" userId="S::b.raaflaub@hkbb.ch::898427e0-eac9-43b3-88d7-c5a51a2fe9c7" providerId="AD" clId="Web-{6186F47D-3C7A-3022-A17C-7A54E6E043A2}"/>
    <pc:docChg chg="modSld">
      <pc:chgData name="Raaflaub Brigitte (HKBB)" userId="S::b.raaflaub@hkbb.ch::898427e0-eac9-43b3-88d7-c5a51a2fe9c7" providerId="AD" clId="Web-{6186F47D-3C7A-3022-A17C-7A54E6E043A2}" dt="2024-05-08T06:25:36.703" v="15" actId="20577"/>
      <pc:docMkLst>
        <pc:docMk/>
      </pc:docMkLst>
      <pc:sldChg chg="modSp">
        <pc:chgData name="Raaflaub Brigitte (HKBB)" userId="S::b.raaflaub@hkbb.ch::898427e0-eac9-43b3-88d7-c5a51a2fe9c7" providerId="AD" clId="Web-{6186F47D-3C7A-3022-A17C-7A54E6E043A2}" dt="2024-05-08T06:25:36.703" v="15" actId="20577"/>
        <pc:sldMkLst>
          <pc:docMk/>
          <pc:sldMk cId="2314239642" sldId="680"/>
        </pc:sldMkLst>
      </pc:sldChg>
    </pc:docChg>
  </pc:docChgLst>
  <pc:docChgLst>
    <pc:chgData name="Lüdin Daniel (HKBB)" userId="S::d.luedin@hkbb.ch::74c4c082-cc26-47d3-8fd2-c87c19ee9566" providerId="AD" clId="Web-{248204CF-B331-FDB1-5C5E-29B118D67584}"/>
    <pc:docChg chg="addSld">
      <pc:chgData name="Lüdin Daniel (HKBB)" userId="S::d.luedin@hkbb.ch::74c4c082-cc26-47d3-8fd2-c87c19ee9566" providerId="AD" clId="Web-{248204CF-B331-FDB1-5C5E-29B118D67584}" dt="2025-01-14T15:44:51.282" v="0"/>
      <pc:docMkLst>
        <pc:docMk/>
      </pc:docMkLst>
      <pc:sldChg chg="add">
        <pc:chgData name="Lüdin Daniel (HKBB)" userId="S::d.luedin@hkbb.ch::74c4c082-cc26-47d3-8fd2-c87c19ee9566" providerId="AD" clId="Web-{248204CF-B331-FDB1-5C5E-29B118D67584}" dt="2025-01-14T15:44:51.282" v="0"/>
        <pc:sldMkLst>
          <pc:docMk/>
          <pc:sldMk cId="3994852623" sldId="2134804380"/>
        </pc:sldMkLst>
      </pc:sldChg>
      <pc:sldMasterChg chg="addSldLayout">
        <pc:chgData name="Lüdin Daniel (HKBB)" userId="S::d.luedin@hkbb.ch::74c4c082-cc26-47d3-8fd2-c87c19ee9566" providerId="AD" clId="Web-{248204CF-B331-FDB1-5C5E-29B118D67584}" dt="2025-01-14T15:44:51.282" v="0"/>
        <pc:sldMasterMkLst>
          <pc:docMk/>
          <pc:sldMasterMk cId="1759221374" sldId="2147483670"/>
        </pc:sldMasterMkLst>
        <pc:sldLayoutChg chg="add">
          <pc:chgData name="Lüdin Daniel (HKBB)" userId="S::d.luedin@hkbb.ch::74c4c082-cc26-47d3-8fd2-c87c19ee9566" providerId="AD" clId="Web-{248204CF-B331-FDB1-5C5E-29B118D67584}" dt="2025-01-14T15:44:51.282" v="0"/>
          <pc:sldLayoutMkLst>
            <pc:docMk/>
            <pc:sldMasterMk cId="1759221374" sldId="2147483670"/>
            <pc:sldLayoutMk cId="1943782" sldId="2147483730"/>
          </pc:sldLayoutMkLst>
        </pc:sldLayoutChg>
      </pc:sldMasterChg>
    </pc:docChg>
  </pc:docChgLst>
  <pc:docChgLst>
    <pc:chgData name="Schweizer Gabriel (HKBB)" userId="65cf39ad-0784-4b9b-8fe8-13d2a317f78f" providerId="ADAL" clId="{FE0E6223-952D-4A30-810D-1371CDDCBE74}"/>
    <pc:docChg chg="undo custSel addSld modSld">
      <pc:chgData name="Schweizer Gabriel (HKBB)" userId="65cf39ad-0784-4b9b-8fe8-13d2a317f78f" providerId="ADAL" clId="{FE0E6223-952D-4A30-810D-1371CDDCBE74}" dt="2024-11-05T10:25:11.886" v="1023" actId="20577"/>
      <pc:docMkLst>
        <pc:docMk/>
      </pc:docMkLst>
      <pc:sldChg chg="modSp mod">
        <pc:chgData name="Schweizer Gabriel (HKBB)" userId="65cf39ad-0784-4b9b-8fe8-13d2a317f78f" providerId="ADAL" clId="{FE0E6223-952D-4A30-810D-1371CDDCBE74}" dt="2024-11-05T10:00:52.122" v="18" actId="14100"/>
        <pc:sldMkLst>
          <pc:docMk/>
          <pc:sldMk cId="4165682228" sldId="2134804374"/>
        </pc:sldMkLst>
      </pc:sldChg>
      <pc:sldChg chg="addSp delSp modSp new mod modClrScheme chgLayout">
        <pc:chgData name="Schweizer Gabriel (HKBB)" userId="65cf39ad-0784-4b9b-8fe8-13d2a317f78f" providerId="ADAL" clId="{FE0E6223-952D-4A30-810D-1371CDDCBE74}" dt="2024-11-05T10:25:11.886" v="1023" actId="20577"/>
        <pc:sldMkLst>
          <pc:docMk/>
          <pc:sldMk cId="2246974120" sldId="2134804376"/>
        </pc:sldMkLst>
      </pc:sldChg>
    </pc:docChg>
  </pc:docChgLst>
  <pc:docChgLst>
    <pc:chgData name="Buchbauer Raphael (HKBB)" userId="b9131bc2-c6e7-47e8-9ca9-4902240473c5" providerId="ADAL" clId="{FE0834ED-FA19-4607-B86D-FD1738550444}"/>
    <pc:docChg chg="custSel modSld">
      <pc:chgData name="Buchbauer Raphael (HKBB)" userId="b9131bc2-c6e7-47e8-9ca9-4902240473c5" providerId="ADAL" clId="{FE0834ED-FA19-4607-B86D-FD1738550444}" dt="2025-01-20T15:34:06.393" v="94" actId="20577"/>
      <pc:docMkLst>
        <pc:docMk/>
      </pc:docMkLst>
    </pc:docChg>
  </pc:docChgLst>
  <pc:docChgLst>
    <pc:chgData name="Hofer Stefanie (HKBB)" userId="bbfc8bf1-093f-4561-bc99-19994a05dafd" providerId="ADAL" clId="{EA3F27C7-DE6A-4E76-8F65-734589005340}"/>
    <pc:docChg chg="custSel modSld">
      <pc:chgData name="Hofer Stefanie (HKBB)" userId="bbfc8bf1-093f-4561-bc99-19994a05dafd" providerId="ADAL" clId="{EA3F27C7-DE6A-4E76-8F65-734589005340}" dt="2024-11-06T07:32:10.886" v="28" actId="20577"/>
      <pc:docMkLst>
        <pc:docMk/>
      </pc:docMkLst>
      <pc:sldChg chg="modSp mod">
        <pc:chgData name="Hofer Stefanie (HKBB)" userId="bbfc8bf1-093f-4561-bc99-19994a05dafd" providerId="ADAL" clId="{EA3F27C7-DE6A-4E76-8F65-734589005340}" dt="2024-11-06T07:28:38.893" v="1" actId="20577"/>
        <pc:sldMkLst>
          <pc:docMk/>
          <pc:sldMk cId="453062407" sldId="555"/>
        </pc:sldMkLst>
      </pc:sldChg>
      <pc:sldChg chg="modSp mod">
        <pc:chgData name="Hofer Stefanie (HKBB)" userId="bbfc8bf1-093f-4561-bc99-19994a05dafd" providerId="ADAL" clId="{EA3F27C7-DE6A-4E76-8F65-734589005340}" dt="2024-11-06T07:32:10.886" v="28" actId="20577"/>
        <pc:sldMkLst>
          <pc:docMk/>
          <pc:sldMk cId="4165682228" sldId="2134804374"/>
        </pc:sldMkLst>
      </pc:sldChg>
    </pc:docChg>
  </pc:docChgLst>
  <pc:docChgLst>
    <pc:chgData name="Acosta Josué (HKBB)" userId="962a508a-7847-4c4c-83c2-5706539d20f8" providerId="ADAL" clId="{98B9674A-5FD5-475B-A20E-3E9CCAB71084}"/>
    <pc:docChg chg="addSld delSld modSld">
      <pc:chgData name="Acosta Josué (HKBB)" userId="962a508a-7847-4c4c-83c2-5706539d20f8" providerId="ADAL" clId="{98B9674A-5FD5-475B-A20E-3E9CCAB71084}" dt="2025-02-26T09:43:56.758" v="5" actId="47"/>
      <pc:docMkLst>
        <pc:docMk/>
      </pc:docMkLst>
      <pc:sldChg chg="add del">
        <pc:chgData name="Acosta Josué (HKBB)" userId="962a508a-7847-4c4c-83c2-5706539d20f8" providerId="ADAL" clId="{98B9674A-5FD5-475B-A20E-3E9CCAB71084}" dt="2025-02-26T09:43:42.284" v="2"/>
        <pc:sldMkLst>
          <pc:docMk/>
          <pc:sldMk cId="374610118" sldId="514"/>
        </pc:sldMkLst>
      </pc:sldChg>
      <pc:sldChg chg="del">
        <pc:chgData name="Acosta Josué (HKBB)" userId="962a508a-7847-4c4c-83c2-5706539d20f8" providerId="ADAL" clId="{98B9674A-5FD5-475B-A20E-3E9CCAB71084}" dt="2025-02-26T09:43:56.758" v="5" actId="47"/>
        <pc:sldMkLst>
          <pc:docMk/>
          <pc:sldMk cId="1596061055" sldId="683"/>
        </pc:sldMkLst>
      </pc:sldChg>
      <pc:sldChg chg="del">
        <pc:chgData name="Acosta Josué (HKBB)" userId="962a508a-7847-4c4c-83c2-5706539d20f8" providerId="ADAL" clId="{98B9674A-5FD5-475B-A20E-3E9CCAB71084}" dt="2025-02-26T09:43:43.872" v="3" actId="47"/>
        <pc:sldMkLst>
          <pc:docMk/>
          <pc:sldMk cId="2134818772" sldId="2134804384"/>
        </pc:sldMkLst>
      </pc:sldChg>
      <pc:sldChg chg="add del">
        <pc:chgData name="Acosta Josué (HKBB)" userId="962a508a-7847-4c4c-83c2-5706539d20f8" providerId="ADAL" clId="{98B9674A-5FD5-475B-A20E-3E9CCAB71084}" dt="2025-02-26T09:43:32.538" v="1"/>
        <pc:sldMkLst>
          <pc:docMk/>
          <pc:sldMk cId="1093927844" sldId="2134804388"/>
        </pc:sldMkLst>
      </pc:sldChg>
      <pc:sldChg chg="add">
        <pc:chgData name="Acosta Josué (HKBB)" userId="962a508a-7847-4c4c-83c2-5706539d20f8" providerId="ADAL" clId="{98B9674A-5FD5-475B-A20E-3E9CCAB71084}" dt="2025-02-26T09:43:54.426" v="4"/>
        <pc:sldMkLst>
          <pc:docMk/>
          <pc:sldMk cId="2091170063" sldId="2134804388"/>
        </pc:sldMkLst>
      </pc:sldChg>
    </pc:docChg>
  </pc:docChgLst>
  <pc:docChgLst>
    <pc:chgData name="Bujalka Adam (HKBB)" userId="S::a.bujalka@hkbb.ch::52fdb9a9-507d-4e7a-9105-8d88f5d38311" providerId="AD" clId="Web-{770E1F3B-06C2-46BF-B3B8-43E0196F229E}"/>
    <pc:docChg chg="addSld modSld">
      <pc:chgData name="Bujalka Adam (HKBB)" userId="S::a.bujalka@hkbb.ch::52fdb9a9-507d-4e7a-9105-8d88f5d38311" providerId="AD" clId="Web-{770E1F3B-06C2-46BF-B3B8-43E0196F229E}" dt="2025-03-05T08:56:52.065" v="17" actId="1076"/>
      <pc:docMkLst>
        <pc:docMk/>
      </pc:docMkLst>
      <pc:sldChg chg="modSp add">
        <pc:chgData name="Bujalka Adam (HKBB)" userId="S::a.bujalka@hkbb.ch::52fdb9a9-507d-4e7a-9105-8d88f5d38311" providerId="AD" clId="Web-{770E1F3B-06C2-46BF-B3B8-43E0196F229E}" dt="2025-03-05T08:56:52.065" v="17" actId="1076"/>
        <pc:sldMkLst>
          <pc:docMk/>
          <pc:sldMk cId="3646014116" sldId="2134804390"/>
        </pc:sldMkLst>
        <pc:spChg chg="mod">
          <ac:chgData name="Bujalka Adam (HKBB)" userId="S::a.bujalka@hkbb.ch::52fdb9a9-507d-4e7a-9105-8d88f5d38311" providerId="AD" clId="Web-{770E1F3B-06C2-46BF-B3B8-43E0196F229E}" dt="2025-03-05T08:56:52.065" v="17" actId="1076"/>
          <ac:spMkLst>
            <pc:docMk/>
            <pc:sldMk cId="3646014116" sldId="2134804390"/>
            <ac:spMk id="5" creationId="{EF0718E0-6452-8D9F-9FF5-FD5B5D542BF5}"/>
          </ac:spMkLst>
        </pc:spChg>
      </pc:sldChg>
      <pc:sldChg chg="modSp add">
        <pc:chgData name="Bujalka Adam (HKBB)" userId="S::a.bujalka@hkbb.ch::52fdb9a9-507d-4e7a-9105-8d88f5d38311" providerId="AD" clId="Web-{770E1F3B-06C2-46BF-B3B8-43E0196F229E}" dt="2025-03-05T08:56:44.502" v="16" actId="20577"/>
        <pc:sldMkLst>
          <pc:docMk/>
          <pc:sldMk cId="1739579287" sldId="2134804391"/>
        </pc:sldMkLst>
        <pc:spChg chg="mod">
          <ac:chgData name="Bujalka Adam (HKBB)" userId="S::a.bujalka@hkbb.ch::52fdb9a9-507d-4e7a-9105-8d88f5d38311" providerId="AD" clId="Web-{770E1F3B-06C2-46BF-B3B8-43E0196F229E}" dt="2025-03-05T08:56:44.502" v="16" actId="20577"/>
          <ac:spMkLst>
            <pc:docMk/>
            <pc:sldMk cId="1739579287" sldId="2134804391"/>
            <ac:spMk id="5" creationId="{6E2E5921-1E9C-49B5-1ABA-8878D3EC206B}"/>
          </ac:spMkLst>
        </pc:spChg>
      </pc:sldChg>
    </pc:docChg>
  </pc:docChgLst>
  <pc:docChgLst>
    <pc:chgData name="Bujalka Adam (HKBB)" userId="52fdb9a9-507d-4e7a-9105-8d88f5d38311" providerId="ADAL" clId="{FE02B663-C634-4796-AF37-59C416FB3B76}"/>
    <pc:docChg chg="undo custSel addSld delSld modSld modMainMaster">
      <pc:chgData name="Bujalka Adam (HKBB)" userId="52fdb9a9-507d-4e7a-9105-8d88f5d38311" providerId="ADAL" clId="{FE02B663-C634-4796-AF37-59C416FB3B76}" dt="2025-03-06T14:47:16.716" v="102" actId="2696"/>
      <pc:docMkLst>
        <pc:docMk/>
      </pc:docMkLst>
      <pc:sldChg chg="modSp mod">
        <pc:chgData name="Bujalka Adam (HKBB)" userId="52fdb9a9-507d-4e7a-9105-8d88f5d38311" providerId="ADAL" clId="{FE02B663-C634-4796-AF37-59C416FB3B76}" dt="2025-03-05T10:49:26.562" v="98" actId="20577"/>
        <pc:sldMkLst>
          <pc:docMk/>
          <pc:sldMk cId="3646014116" sldId="2134804390"/>
        </pc:sldMkLst>
        <pc:spChg chg="mod">
          <ac:chgData name="Bujalka Adam (HKBB)" userId="52fdb9a9-507d-4e7a-9105-8d88f5d38311" providerId="ADAL" clId="{FE02B663-C634-4796-AF37-59C416FB3B76}" dt="2025-03-05T10:49:26.562" v="98" actId="20577"/>
          <ac:spMkLst>
            <pc:docMk/>
            <pc:sldMk cId="3646014116" sldId="2134804390"/>
            <ac:spMk id="10" creationId="{3A1DA9A3-138D-49D8-3EDE-ABBAFE07AAC5}"/>
          </ac:spMkLst>
        </pc:spChg>
      </pc:sldChg>
      <pc:sldChg chg="modSp mod">
        <pc:chgData name="Bujalka Adam (HKBB)" userId="52fdb9a9-507d-4e7a-9105-8d88f5d38311" providerId="ADAL" clId="{FE02B663-C634-4796-AF37-59C416FB3B76}" dt="2025-03-05T10:49:34.335" v="99"/>
        <pc:sldMkLst>
          <pc:docMk/>
          <pc:sldMk cId="1739579287" sldId="2134804391"/>
        </pc:sldMkLst>
        <pc:spChg chg="mod">
          <ac:chgData name="Bujalka Adam (HKBB)" userId="52fdb9a9-507d-4e7a-9105-8d88f5d38311" providerId="ADAL" clId="{FE02B663-C634-4796-AF37-59C416FB3B76}" dt="2025-03-05T10:49:34.335" v="99"/>
          <ac:spMkLst>
            <pc:docMk/>
            <pc:sldMk cId="1739579287" sldId="2134804391"/>
            <ac:spMk id="10" creationId="{FB1ACDF1-CD7E-2299-47BE-FD3EA194E15E}"/>
          </ac:spMkLst>
        </pc:spChg>
      </pc:sldChg>
      <pc:sldChg chg="addSp new del">
        <pc:chgData name="Bujalka Adam (HKBB)" userId="52fdb9a9-507d-4e7a-9105-8d88f5d38311" providerId="ADAL" clId="{FE02B663-C634-4796-AF37-59C416FB3B76}" dt="2025-03-06T14:47:16.716" v="102" actId="2696"/>
        <pc:sldMkLst>
          <pc:docMk/>
          <pc:sldMk cId="2195603485" sldId="2134804392"/>
        </pc:sldMkLst>
      </pc:sldChg>
      <pc:sldMasterChg chg="modSp mod modSldLayout">
        <pc:chgData name="Bujalka Adam (HKBB)" userId="52fdb9a9-507d-4e7a-9105-8d88f5d38311" providerId="ADAL" clId="{FE02B663-C634-4796-AF37-59C416FB3B76}" dt="2025-03-05T08:59:07.668" v="33" actId="14100"/>
        <pc:sldMasterMkLst>
          <pc:docMk/>
          <pc:sldMasterMk cId="1759221374" sldId="2147483670"/>
        </pc:sldMasterMkLst>
        <pc:spChg chg="mod">
          <ac:chgData name="Bujalka Adam (HKBB)" userId="52fdb9a9-507d-4e7a-9105-8d88f5d38311" providerId="ADAL" clId="{FE02B663-C634-4796-AF37-59C416FB3B76}" dt="2025-03-05T08:58:26.923" v="27" actId="20577"/>
          <ac:spMkLst>
            <pc:docMk/>
            <pc:sldMasterMk cId="1759221374" sldId="2147483670"/>
            <ac:spMk id="28" creationId="{5C01355E-1CCD-A145-83C1-5C4BFF1488FB}"/>
          </ac:spMkLst>
        </pc:spChg>
        <pc:sldLayoutChg chg="modSp mod">
          <pc:chgData name="Bujalka Adam (HKBB)" userId="52fdb9a9-507d-4e7a-9105-8d88f5d38311" providerId="ADAL" clId="{FE02B663-C634-4796-AF37-59C416FB3B76}" dt="2025-03-05T08:59:07.668" v="33" actId="14100"/>
          <pc:sldLayoutMkLst>
            <pc:docMk/>
            <pc:sldMasterMk cId="1759221374" sldId="2147483670"/>
            <pc:sldLayoutMk cId="2229963026" sldId="2147483681"/>
          </pc:sldLayoutMkLst>
          <pc:spChg chg="mod">
            <ac:chgData name="Bujalka Adam (HKBB)" userId="52fdb9a9-507d-4e7a-9105-8d88f5d38311" providerId="ADAL" clId="{FE02B663-C634-4796-AF37-59C416FB3B76}" dt="2025-03-05T08:59:07.668" v="33" actId="14100"/>
            <ac:spMkLst>
              <pc:docMk/>
              <pc:sldMasterMk cId="1759221374" sldId="2147483670"/>
              <pc:sldLayoutMk cId="2229963026" sldId="2147483681"/>
              <ac:spMk id="6" creationId="{1D8A2388-9E06-C24E-A2F2-8578F7B81CEE}"/>
            </ac:spMkLst>
          </pc:spChg>
          <pc:picChg chg="mod">
            <ac:chgData name="Bujalka Adam (HKBB)" userId="52fdb9a9-507d-4e7a-9105-8d88f5d38311" providerId="ADAL" clId="{FE02B663-C634-4796-AF37-59C416FB3B76}" dt="2025-03-05T08:59:03.716" v="31" actId="1076"/>
            <ac:picMkLst>
              <pc:docMk/>
              <pc:sldMasterMk cId="1759221374" sldId="2147483670"/>
              <pc:sldLayoutMk cId="2229963026" sldId="2147483681"/>
              <ac:picMk id="4" creationId="{EE06CE47-6ABC-3345-A7A4-CADC463E966D}"/>
            </ac:picMkLst>
          </pc:picChg>
        </pc:sldLayoutChg>
      </pc:sldMasterChg>
    </pc:docChg>
  </pc:docChgLst>
  <pc:docChgLst>
    <pc:chgData name="Hofer Stefanie (HKBB)" userId="bbfc8bf1-093f-4561-bc99-19994a05dafd" providerId="ADAL" clId="{097B00BC-7860-4519-8274-07AE3DE53088}"/>
    <pc:docChg chg="addSld delSld modSld">
      <pc:chgData name="Hofer Stefanie (HKBB)" userId="bbfc8bf1-093f-4561-bc99-19994a05dafd" providerId="ADAL" clId="{097B00BC-7860-4519-8274-07AE3DE53088}" dt="2025-03-10T06:59:33.659" v="1" actId="47"/>
      <pc:docMkLst>
        <pc:docMk/>
      </pc:docMkLst>
      <pc:sldChg chg="del">
        <pc:chgData name="Hofer Stefanie (HKBB)" userId="bbfc8bf1-093f-4561-bc99-19994a05dafd" providerId="ADAL" clId="{097B00BC-7860-4519-8274-07AE3DE53088}" dt="2025-03-10T06:59:33.659" v="1" actId="47"/>
        <pc:sldMkLst>
          <pc:docMk/>
          <pc:sldMk cId="453062407" sldId="555"/>
        </pc:sldMkLst>
      </pc:sldChg>
      <pc:sldChg chg="add">
        <pc:chgData name="Hofer Stefanie (HKBB)" userId="bbfc8bf1-093f-4561-bc99-19994a05dafd" providerId="ADAL" clId="{097B00BC-7860-4519-8274-07AE3DE53088}" dt="2025-03-10T06:59:31.932" v="0"/>
        <pc:sldMkLst>
          <pc:docMk/>
          <pc:sldMk cId="2148568426" sldId="2134804394"/>
        </pc:sldMkLst>
      </pc:sldChg>
    </pc:docChg>
  </pc:docChgLst>
  <pc:docChgLst>
    <pc:chgData name="Raaflaub Brigitte (HKBB)" userId="S::b.raaflaub@hkbb.ch::898427e0-eac9-43b3-88d7-c5a51a2fe9c7" providerId="AD" clId="Web-{5F290FBA-B8E3-53A5-00F2-8465D4582BA4}"/>
    <pc:docChg chg="modSld">
      <pc:chgData name="Raaflaub Brigitte (HKBB)" userId="S::b.raaflaub@hkbb.ch::898427e0-eac9-43b3-88d7-c5a51a2fe9c7" providerId="AD" clId="Web-{5F290FBA-B8E3-53A5-00F2-8465D4582BA4}" dt="2024-10-15T07:13:25.123" v="89" actId="1076"/>
      <pc:docMkLst>
        <pc:docMk/>
      </pc:docMkLst>
      <pc:sldChg chg="addSp delSp modSp">
        <pc:chgData name="Raaflaub Brigitte (HKBB)" userId="S::b.raaflaub@hkbb.ch::898427e0-eac9-43b3-88d7-c5a51a2fe9c7" providerId="AD" clId="Web-{5F290FBA-B8E3-53A5-00F2-8465D4582BA4}" dt="2024-10-15T07:09:38.149" v="62"/>
        <pc:sldMkLst>
          <pc:docMk/>
          <pc:sldMk cId="2314239642" sldId="680"/>
        </pc:sldMkLst>
      </pc:sldChg>
      <pc:sldChg chg="addSp delSp modSp">
        <pc:chgData name="Raaflaub Brigitte (HKBB)" userId="S::b.raaflaub@hkbb.ch::898427e0-eac9-43b3-88d7-c5a51a2fe9c7" providerId="AD" clId="Web-{5F290FBA-B8E3-53A5-00F2-8465D4582BA4}" dt="2024-10-15T07:13:25.123" v="89" actId="1076"/>
        <pc:sldMkLst>
          <pc:docMk/>
          <pc:sldMk cId="4257588460" sldId="681"/>
        </pc:sldMkLst>
      </pc:sldChg>
    </pc:docChg>
  </pc:docChgLst>
  <pc:docChgLst>
    <pc:chgData name="Schwander Nathalie (HKBB)" userId="1ddde273-4c63-446d-8aec-866cb2e465f8" providerId="ADAL" clId="{2D136A40-9B24-4027-9339-9D276CAFEFA0}"/>
    <pc:docChg chg="addSld delSld modSld modMainMaster">
      <pc:chgData name="Schwander Nathalie (HKBB)" userId="1ddde273-4c63-446d-8aec-866cb2e465f8" providerId="ADAL" clId="{2D136A40-9B24-4027-9339-9D276CAFEFA0}" dt="2024-01-25T07:40:14.765" v="72" actId="20577"/>
      <pc:docMkLst>
        <pc:docMk/>
      </pc:docMkLst>
      <pc:sldChg chg="add">
        <pc:chgData name="Schwander Nathalie (HKBB)" userId="1ddde273-4c63-446d-8aec-866cb2e465f8" providerId="ADAL" clId="{2D136A40-9B24-4027-9339-9D276CAFEFA0}" dt="2024-01-25T07:37:59.554" v="30"/>
        <pc:sldMkLst>
          <pc:docMk/>
          <pc:sldMk cId="3241322443" sldId="355"/>
        </pc:sldMkLst>
      </pc:sldChg>
      <pc:sldChg chg="add">
        <pc:chgData name="Schwander Nathalie (HKBB)" userId="1ddde273-4c63-446d-8aec-866cb2e465f8" providerId="ADAL" clId="{2D136A40-9B24-4027-9339-9D276CAFEFA0}" dt="2024-01-25T07:37:59.554" v="30"/>
        <pc:sldMkLst>
          <pc:docMk/>
          <pc:sldMk cId="2912649134" sldId="372"/>
        </pc:sldMkLst>
      </pc:sldChg>
      <pc:sldChg chg="add del">
        <pc:chgData name="Schwander Nathalie (HKBB)" userId="1ddde273-4c63-446d-8aec-866cb2e465f8" providerId="ADAL" clId="{2D136A40-9B24-4027-9339-9D276CAFEFA0}" dt="2024-01-25T07:37:59.554" v="30"/>
        <pc:sldMkLst>
          <pc:docMk/>
          <pc:sldMk cId="1494579602" sldId="416"/>
        </pc:sldMkLst>
      </pc:sldChg>
      <pc:sldChg chg="add del">
        <pc:chgData name="Schwander Nathalie (HKBB)" userId="1ddde273-4c63-446d-8aec-866cb2e465f8" providerId="ADAL" clId="{2D136A40-9B24-4027-9339-9D276CAFEFA0}" dt="2024-01-25T07:37:59.554" v="30"/>
        <pc:sldMkLst>
          <pc:docMk/>
          <pc:sldMk cId="1585631509" sldId="524"/>
        </pc:sldMkLst>
      </pc:sldChg>
      <pc:sldChg chg="add del">
        <pc:chgData name="Schwander Nathalie (HKBB)" userId="1ddde273-4c63-446d-8aec-866cb2e465f8" providerId="ADAL" clId="{2D136A40-9B24-4027-9339-9D276CAFEFA0}" dt="2024-01-25T07:37:59.554" v="30"/>
        <pc:sldMkLst>
          <pc:docMk/>
          <pc:sldMk cId="2213082520" sldId="550"/>
        </pc:sldMkLst>
      </pc:sldChg>
      <pc:sldChg chg="add del">
        <pc:chgData name="Schwander Nathalie (HKBB)" userId="1ddde273-4c63-446d-8aec-866cb2e465f8" providerId="ADAL" clId="{2D136A40-9B24-4027-9339-9D276CAFEFA0}" dt="2024-01-25T07:37:59.554" v="30"/>
        <pc:sldMkLst>
          <pc:docMk/>
          <pc:sldMk cId="4082483666" sldId="551"/>
        </pc:sldMkLst>
      </pc:sldChg>
      <pc:sldChg chg="modSp add del mod">
        <pc:chgData name="Schwander Nathalie (HKBB)" userId="1ddde273-4c63-446d-8aec-866cb2e465f8" providerId="ADAL" clId="{2D136A40-9B24-4027-9339-9D276CAFEFA0}" dt="2024-01-25T07:39:44.141" v="46" actId="20577"/>
        <pc:sldMkLst>
          <pc:docMk/>
          <pc:sldMk cId="453062407" sldId="555"/>
        </pc:sldMkLst>
      </pc:sldChg>
      <pc:sldChg chg="add del">
        <pc:chgData name="Schwander Nathalie (HKBB)" userId="1ddde273-4c63-446d-8aec-866cb2e465f8" providerId="ADAL" clId="{2D136A40-9B24-4027-9339-9D276CAFEFA0}" dt="2024-01-25T07:37:59.554" v="30"/>
        <pc:sldMkLst>
          <pc:docMk/>
          <pc:sldMk cId="4046067636" sldId="557"/>
        </pc:sldMkLst>
      </pc:sldChg>
      <pc:sldChg chg="del">
        <pc:chgData name="Schwander Nathalie (HKBB)" userId="1ddde273-4c63-446d-8aec-866cb2e465f8" providerId="ADAL" clId="{2D136A40-9B24-4027-9339-9D276CAFEFA0}" dt="2024-01-25T07:37:51.895" v="29" actId="2696"/>
        <pc:sldMkLst>
          <pc:docMk/>
          <pc:sldMk cId="1932571259" sldId="559"/>
        </pc:sldMkLst>
      </pc:sldChg>
      <pc:sldChg chg="del">
        <pc:chgData name="Schwander Nathalie (HKBB)" userId="1ddde273-4c63-446d-8aec-866cb2e465f8" providerId="ADAL" clId="{2D136A40-9B24-4027-9339-9D276CAFEFA0}" dt="2024-01-25T07:37:51.895" v="29" actId="2696"/>
        <pc:sldMkLst>
          <pc:docMk/>
          <pc:sldMk cId="1312620171" sldId="676"/>
        </pc:sldMkLst>
      </pc:sldChg>
      <pc:sldChg chg="add mod modShow">
        <pc:chgData name="Schwander Nathalie (HKBB)" userId="1ddde273-4c63-446d-8aec-866cb2e465f8" providerId="ADAL" clId="{2D136A40-9B24-4027-9339-9D276CAFEFA0}" dt="2024-01-25T07:38:56.981" v="32" actId="729"/>
        <pc:sldMkLst>
          <pc:docMk/>
          <pc:sldMk cId="3766718936" sldId="676"/>
        </pc:sldMkLst>
      </pc:sldChg>
      <pc:sldChg chg="del">
        <pc:chgData name="Schwander Nathalie (HKBB)" userId="1ddde273-4c63-446d-8aec-866cb2e465f8" providerId="ADAL" clId="{2D136A40-9B24-4027-9339-9D276CAFEFA0}" dt="2024-01-25T07:37:51.895" v="29" actId="2696"/>
        <pc:sldMkLst>
          <pc:docMk/>
          <pc:sldMk cId="238858279" sldId="677"/>
        </pc:sldMkLst>
      </pc:sldChg>
      <pc:sldChg chg="add del">
        <pc:chgData name="Schwander Nathalie (HKBB)" userId="1ddde273-4c63-446d-8aec-866cb2e465f8" providerId="ADAL" clId="{2D136A40-9B24-4027-9339-9D276CAFEFA0}" dt="2024-01-25T07:38:46.736" v="31" actId="2696"/>
        <pc:sldMkLst>
          <pc:docMk/>
          <pc:sldMk cId="372138731" sldId="677"/>
        </pc:sldMkLst>
      </pc:sldChg>
      <pc:sldChg chg="add">
        <pc:chgData name="Schwander Nathalie (HKBB)" userId="1ddde273-4c63-446d-8aec-866cb2e465f8" providerId="ADAL" clId="{2D136A40-9B24-4027-9339-9D276CAFEFA0}" dt="2024-01-25T07:37:59.554" v="30"/>
        <pc:sldMkLst>
          <pc:docMk/>
          <pc:sldMk cId="1312620171" sldId="678"/>
        </pc:sldMkLst>
      </pc:sldChg>
      <pc:sldChg chg="modSp add mod">
        <pc:chgData name="Schwander Nathalie (HKBB)" userId="1ddde273-4c63-446d-8aec-866cb2e465f8" providerId="ADAL" clId="{2D136A40-9B24-4027-9339-9D276CAFEFA0}" dt="2024-01-25T07:39:15.272" v="33" actId="113"/>
        <pc:sldMkLst>
          <pc:docMk/>
          <pc:sldMk cId="238858279" sldId="679"/>
        </pc:sldMkLst>
      </pc:sldChg>
      <pc:sldMasterChg chg="modSp mod">
        <pc:chgData name="Schwander Nathalie (HKBB)" userId="1ddde273-4c63-446d-8aec-866cb2e465f8" providerId="ADAL" clId="{2D136A40-9B24-4027-9339-9D276CAFEFA0}" dt="2024-01-25T07:24:20.503" v="28" actId="20577"/>
        <pc:sldMasterMkLst>
          <pc:docMk/>
          <pc:sldMasterMk cId="1759221374" sldId="2147483670"/>
        </pc:sldMasterMkLst>
      </pc:sldMasterChg>
    </pc:docChg>
  </pc:docChgLst>
  <pc:docChgLst>
    <pc:chgData name="Buchbauer Raphael (HKBB)" userId="b9131bc2-c6e7-47e8-9ca9-4902240473c5" providerId="ADAL" clId="{26C5BFAE-D3BB-4F8D-A722-52FCE850B935}"/>
    <pc:docChg chg="undo redo custSel modSld">
      <pc:chgData name="Buchbauer Raphael (HKBB)" userId="b9131bc2-c6e7-47e8-9ca9-4902240473c5" providerId="ADAL" clId="{26C5BFAE-D3BB-4F8D-A722-52FCE850B935}" dt="2024-02-15T12:43:55.202" v="95" actId="1076"/>
      <pc:docMkLst>
        <pc:docMk/>
      </pc:docMkLst>
      <pc:sldChg chg="addSp delSp modSp mod modAnim modShow">
        <pc:chgData name="Buchbauer Raphael (HKBB)" userId="b9131bc2-c6e7-47e8-9ca9-4902240473c5" providerId="ADAL" clId="{26C5BFAE-D3BB-4F8D-A722-52FCE850B935}" dt="2024-02-15T12:43:55.202" v="95" actId="1076"/>
        <pc:sldMkLst>
          <pc:docMk/>
          <pc:sldMk cId="3766718936" sldId="676"/>
        </pc:sldMkLst>
      </pc:sldChg>
    </pc:docChg>
  </pc:docChgLst>
  <pc:docChgLst>
    <pc:chgData name="Raaflaub Brigitte (HKBB)" userId="S::b.raaflaub@hkbb.ch::898427e0-eac9-43b3-88d7-c5a51a2fe9c7" providerId="AD" clId="Web-{79620A31-1D92-73A9-E3C6-88C40D98DFBB}"/>
    <pc:docChg chg="modSld">
      <pc:chgData name="Raaflaub Brigitte (HKBB)" userId="S::b.raaflaub@hkbb.ch::898427e0-eac9-43b3-88d7-c5a51a2fe9c7" providerId="AD" clId="Web-{79620A31-1D92-73A9-E3C6-88C40D98DFBB}" dt="2024-10-15T06:56:00.556" v="0" actId="1076"/>
      <pc:docMkLst>
        <pc:docMk/>
      </pc:docMkLst>
      <pc:sldChg chg="modSp">
        <pc:chgData name="Raaflaub Brigitte (HKBB)" userId="S::b.raaflaub@hkbb.ch::898427e0-eac9-43b3-88d7-c5a51a2fe9c7" providerId="AD" clId="Web-{79620A31-1D92-73A9-E3C6-88C40D98DFBB}" dt="2024-10-15T06:56:00.556" v="0" actId="1076"/>
        <pc:sldMkLst>
          <pc:docMk/>
          <pc:sldMk cId="4257588460" sldId="681"/>
        </pc:sldMkLst>
      </pc:sldChg>
    </pc:docChg>
  </pc:docChgLst>
  <pc:docChgLst>
    <pc:chgData name="Raaflaub Brigitte (HKBB)" userId="898427e0-eac9-43b3-88d7-c5a51a2fe9c7" providerId="ADAL" clId="{69BE7548-61C8-4872-BED4-B39B9EB6AFB5}"/>
    <pc:docChg chg="custSel addSld delSld modSld sldOrd">
      <pc:chgData name="Raaflaub Brigitte (HKBB)" userId="898427e0-eac9-43b3-88d7-c5a51a2fe9c7" providerId="ADAL" clId="{69BE7548-61C8-4872-BED4-B39B9EB6AFB5}" dt="2024-02-20T11:07:02.768" v="11" actId="47"/>
      <pc:docMkLst>
        <pc:docMk/>
      </pc:docMkLst>
      <pc:sldChg chg="delSp modSp del mod">
        <pc:chgData name="Raaflaub Brigitte (HKBB)" userId="898427e0-eac9-43b3-88d7-c5a51a2fe9c7" providerId="ADAL" clId="{69BE7548-61C8-4872-BED4-B39B9EB6AFB5}" dt="2024-02-20T11:06:45.756" v="9" actId="47"/>
        <pc:sldMkLst>
          <pc:docMk/>
          <pc:sldMk cId="3241322443" sldId="355"/>
        </pc:sldMkLst>
      </pc:sldChg>
      <pc:sldChg chg="delSp del mod">
        <pc:chgData name="Raaflaub Brigitte (HKBB)" userId="898427e0-eac9-43b3-88d7-c5a51a2fe9c7" providerId="ADAL" clId="{69BE7548-61C8-4872-BED4-B39B9EB6AFB5}" dt="2024-02-20T11:07:02.768" v="11" actId="47"/>
        <pc:sldMkLst>
          <pc:docMk/>
          <pc:sldMk cId="2912649134" sldId="372"/>
        </pc:sldMkLst>
      </pc:sldChg>
      <pc:sldChg chg="ord">
        <pc:chgData name="Raaflaub Brigitte (HKBB)" userId="898427e0-eac9-43b3-88d7-c5a51a2fe9c7" providerId="ADAL" clId="{69BE7548-61C8-4872-BED4-B39B9EB6AFB5}" dt="2024-02-20T10:53:55.689" v="1"/>
        <pc:sldMkLst>
          <pc:docMk/>
          <pc:sldMk cId="2213082520" sldId="550"/>
        </pc:sldMkLst>
      </pc:sldChg>
    </pc:docChg>
  </pc:docChgLst>
  <pc:docChgLst>
    <pc:chgData name="Schwander Nathalie (HKBB)" userId="1ddde273-4c63-446d-8aec-866cb2e465f8" providerId="ADAL" clId="{6346254F-637E-4DE3-B727-1BC4E7B857BB}"/>
    <pc:docChg chg="undo custSel addSld delSld modSld modMainMaster">
      <pc:chgData name="Schwander Nathalie (HKBB)" userId="1ddde273-4c63-446d-8aec-866cb2e465f8" providerId="ADAL" clId="{6346254F-637E-4DE3-B727-1BC4E7B857BB}" dt="2024-03-07T09:02:33.327" v="389" actId="2696"/>
      <pc:docMkLst>
        <pc:docMk/>
      </pc:docMkLst>
      <pc:sldChg chg="addSp delSp modSp add mod">
        <pc:chgData name="Schwander Nathalie (HKBB)" userId="1ddde273-4c63-446d-8aec-866cb2e465f8" providerId="ADAL" clId="{6346254F-637E-4DE3-B727-1BC4E7B857BB}" dt="2024-02-22T13:03:21.008" v="311" actId="14100"/>
        <pc:sldMkLst>
          <pc:docMk/>
          <pc:sldMk cId="2349147396" sldId="262"/>
        </pc:sldMkLst>
      </pc:sldChg>
      <pc:sldChg chg="modSp mod">
        <pc:chgData name="Schwander Nathalie (HKBB)" userId="1ddde273-4c63-446d-8aec-866cb2e465f8" providerId="ADAL" clId="{6346254F-637E-4DE3-B727-1BC4E7B857BB}" dt="2024-02-22T12:52:30.530" v="61" actId="179"/>
        <pc:sldMkLst>
          <pc:docMk/>
          <pc:sldMk cId="1743774651" sldId="394"/>
        </pc:sldMkLst>
      </pc:sldChg>
      <pc:sldChg chg="modSp mod">
        <pc:chgData name="Schwander Nathalie (HKBB)" userId="1ddde273-4c63-446d-8aec-866cb2e465f8" providerId="ADAL" clId="{6346254F-637E-4DE3-B727-1BC4E7B857BB}" dt="2024-02-20T09:55:15.069" v="36" actId="1076"/>
        <pc:sldMkLst>
          <pc:docMk/>
          <pc:sldMk cId="4046067636" sldId="557"/>
        </pc:sldMkLst>
      </pc:sldChg>
      <pc:sldChg chg="addSp delSp modSp mod">
        <pc:chgData name="Schwander Nathalie (HKBB)" userId="1ddde273-4c63-446d-8aec-866cb2e465f8" providerId="ADAL" clId="{6346254F-637E-4DE3-B727-1BC4E7B857BB}" dt="2024-03-06T10:02:13.288" v="365" actId="113"/>
        <pc:sldMkLst>
          <pc:docMk/>
          <pc:sldMk cId="3800843079" sldId="558"/>
        </pc:sldMkLst>
      </pc:sldChg>
      <pc:sldChg chg="modSp mod">
        <pc:chgData name="Schwander Nathalie (HKBB)" userId="1ddde273-4c63-446d-8aec-866cb2e465f8" providerId="ADAL" clId="{6346254F-637E-4DE3-B727-1BC4E7B857BB}" dt="2024-02-20T09:54:23.480" v="28" actId="20577"/>
        <pc:sldMkLst>
          <pc:docMk/>
          <pc:sldMk cId="2996992431" sldId="675"/>
        </pc:sldMkLst>
      </pc:sldChg>
      <pc:sldChg chg="modSp mod">
        <pc:chgData name="Schwander Nathalie (HKBB)" userId="1ddde273-4c63-446d-8aec-866cb2e465f8" providerId="ADAL" clId="{6346254F-637E-4DE3-B727-1BC4E7B857BB}" dt="2024-03-06T09:53:31.548" v="312" actId="1076"/>
        <pc:sldMkLst>
          <pc:docMk/>
          <pc:sldMk cId="3766718936" sldId="676"/>
        </pc:sldMkLst>
      </pc:sldChg>
      <pc:sldChg chg="addSp delSp modSp del mod">
        <pc:chgData name="Schwander Nathalie (HKBB)" userId="1ddde273-4c63-446d-8aec-866cb2e465f8" providerId="ADAL" clId="{6346254F-637E-4DE3-B727-1BC4E7B857BB}" dt="2024-03-07T09:02:33.327" v="389" actId="2696"/>
        <pc:sldMkLst>
          <pc:docMk/>
          <pc:sldMk cId="1312620171" sldId="678"/>
        </pc:sldMkLst>
      </pc:sldChg>
      <pc:sldChg chg="addSp delSp modSp add mod">
        <pc:chgData name="Schwander Nathalie (HKBB)" userId="1ddde273-4c63-446d-8aec-866cb2e465f8" providerId="ADAL" clId="{6346254F-637E-4DE3-B727-1BC4E7B857BB}" dt="2024-02-22T12:59:12.165" v="271" actId="20577"/>
        <pc:sldMkLst>
          <pc:docMk/>
          <pc:sldMk cId="736456262" sldId="682"/>
        </pc:sldMkLst>
      </pc:sldChg>
      <pc:sldChg chg="add">
        <pc:chgData name="Schwander Nathalie (HKBB)" userId="1ddde273-4c63-446d-8aec-866cb2e465f8" providerId="ADAL" clId="{6346254F-637E-4DE3-B727-1BC4E7B857BB}" dt="2024-03-07T09:02:26.477" v="388"/>
        <pc:sldMkLst>
          <pc:docMk/>
          <pc:sldMk cId="1596061055" sldId="683"/>
        </pc:sldMkLst>
      </pc:sldChg>
      <pc:sldMasterChg chg="modSldLayout">
        <pc:chgData name="Schwander Nathalie (HKBB)" userId="1ddde273-4c63-446d-8aec-866cb2e465f8" providerId="ADAL" clId="{6346254F-637E-4DE3-B727-1BC4E7B857BB}" dt="2024-03-06T10:30:44.337" v="387" actId="20577"/>
        <pc:sldMasterMkLst>
          <pc:docMk/>
          <pc:sldMasterMk cId="1759221374" sldId="2147483670"/>
        </pc:sldMasterMkLst>
        <pc:sldLayoutChg chg="modSp mod">
          <pc:chgData name="Schwander Nathalie (HKBB)" userId="1ddde273-4c63-446d-8aec-866cb2e465f8" providerId="ADAL" clId="{6346254F-637E-4DE3-B727-1BC4E7B857BB}" dt="2024-03-06T10:30:44.337" v="387" actId="20577"/>
          <pc:sldLayoutMkLst>
            <pc:docMk/>
            <pc:sldMasterMk cId="1759221374" sldId="2147483670"/>
            <pc:sldLayoutMk cId="2229963026" sldId="2147483681"/>
          </pc:sldLayoutMkLst>
        </pc:sldLayoutChg>
      </pc:sldMasterChg>
    </pc:docChg>
  </pc:docChgLst>
  <pc:docChgLst>
    <pc:chgData name="Schwander Nathalie (HKBB)" userId="S::n.schwander@hkbb.ch::1ddde273-4c63-446d-8aec-866cb2e465f8" providerId="AD" clId="Web-{09C3E518-AC48-C14B-B49F-86A1D85DE2BC}"/>
    <pc:docChg chg="mod">
      <pc:chgData name="Schwander Nathalie (HKBB)" userId="S::n.schwander@hkbb.ch::1ddde273-4c63-446d-8aec-866cb2e465f8" providerId="AD" clId="Web-{09C3E518-AC48-C14B-B49F-86A1D85DE2BC}" dt="2024-10-14T13:16:40.603" v="0"/>
      <pc:docMkLst>
        <pc:docMk/>
      </pc:docMkLst>
    </pc:docChg>
  </pc:docChgLst>
  <pc:docChgLst>
    <pc:chgData name="Schweizer Gabriel (HKBB)" userId="65cf39ad-0784-4b9b-8fe8-13d2a317f78f" providerId="ADAL" clId="{3BEB659B-13E3-4333-82E7-A6A2E3212AD2}"/>
    <pc:docChg chg="addSld delSld modSld">
      <pc:chgData name="Schweizer Gabriel (HKBB)" userId="65cf39ad-0784-4b9b-8fe8-13d2a317f78f" providerId="ADAL" clId="{3BEB659B-13E3-4333-82E7-A6A2E3212AD2}" dt="2025-01-14T14:58:54.244" v="418" actId="20577"/>
      <pc:docMkLst>
        <pc:docMk/>
      </pc:docMkLst>
      <pc:sldChg chg="modSp new del mod">
        <pc:chgData name="Schweizer Gabriel (HKBB)" userId="65cf39ad-0784-4b9b-8fe8-13d2a317f78f" providerId="ADAL" clId="{3BEB659B-13E3-4333-82E7-A6A2E3212AD2}" dt="2025-01-14T14:53:54.477" v="26" actId="47"/>
        <pc:sldMkLst>
          <pc:docMk/>
          <pc:sldMk cId="1962570623" sldId="2134804376"/>
        </pc:sldMkLst>
      </pc:sldChg>
      <pc:sldChg chg="modSp add mod">
        <pc:chgData name="Schweizer Gabriel (HKBB)" userId="65cf39ad-0784-4b9b-8fe8-13d2a317f78f" providerId="ADAL" clId="{3BEB659B-13E3-4333-82E7-A6A2E3212AD2}" dt="2025-01-14T14:58:54.244" v="418" actId="20577"/>
        <pc:sldMkLst>
          <pc:docMk/>
          <pc:sldMk cId="2246974120" sldId="2134804379"/>
        </pc:sldMkLst>
      </pc:sldChg>
    </pc:docChg>
  </pc:docChgLst>
  <pc:docChgLst>
    <pc:chgData name="Zaugg Patrick (HKBB)" userId="2099f861-9868-4dbd-bfa0-2030227c42fd" providerId="ADAL" clId="{FCA942B4-D228-440B-B812-C505DCC946C4}"/>
    <pc:docChg chg="modSld">
      <pc:chgData name="Zaugg Patrick (HKBB)" userId="2099f861-9868-4dbd-bfa0-2030227c42fd" providerId="ADAL" clId="{FCA942B4-D228-440B-B812-C505DCC946C4}" dt="2024-11-07T08:25:49.167" v="115" actId="20577"/>
      <pc:docMkLst>
        <pc:docMk/>
      </pc:docMkLst>
      <pc:sldChg chg="modSp mod">
        <pc:chgData name="Zaugg Patrick (HKBB)" userId="2099f861-9868-4dbd-bfa0-2030227c42fd" providerId="ADAL" clId="{FCA942B4-D228-440B-B812-C505DCC946C4}" dt="2024-11-07T08:25:49.167" v="115" actId="20577"/>
        <pc:sldMkLst>
          <pc:docMk/>
          <pc:sldMk cId="3800843079" sldId="558"/>
        </pc:sldMkLst>
      </pc:sldChg>
    </pc:docChg>
  </pc:docChgLst>
  <pc:docChgLst>
    <pc:chgData name="Schwander Nathalie (HKBB)" userId="1ddde273-4c63-446d-8aec-866cb2e465f8" providerId="ADAL" clId="{7F85303F-8F5A-40D4-B704-125A75E9D344}"/>
    <pc:docChg chg="addSld delSld modSld">
      <pc:chgData name="Schwander Nathalie (HKBB)" userId="1ddde273-4c63-446d-8aec-866cb2e465f8" providerId="ADAL" clId="{7F85303F-8F5A-40D4-B704-125A75E9D344}" dt="2025-03-07T14:50:00.554" v="27" actId="20577"/>
      <pc:docMkLst>
        <pc:docMk/>
      </pc:docMkLst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225996379" sldId="377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374610118" sldId="514"/>
        </pc:sldMkLst>
      </pc:sldChg>
      <pc:sldChg chg="add del">
        <pc:chgData name="Schwander Nathalie (HKBB)" userId="1ddde273-4c63-446d-8aec-866cb2e465f8" providerId="ADAL" clId="{7F85303F-8F5A-40D4-B704-125A75E9D344}" dt="2025-03-07T14:42:52.840" v="2"/>
        <pc:sldMkLst>
          <pc:docMk/>
          <pc:sldMk cId="453062407" sldId="555"/>
        </pc:sldMkLst>
      </pc:sldChg>
      <pc:sldChg chg="modSp mod">
        <pc:chgData name="Schwander Nathalie (HKBB)" userId="1ddde273-4c63-446d-8aec-866cb2e465f8" providerId="ADAL" clId="{7F85303F-8F5A-40D4-B704-125A75E9D344}" dt="2025-03-07T14:50:00.554" v="27" actId="20577"/>
        <pc:sldMkLst>
          <pc:docMk/>
          <pc:sldMk cId="3800843079" sldId="558"/>
        </pc:sldMkLst>
        <pc:spChg chg="mod">
          <ac:chgData name="Schwander Nathalie (HKBB)" userId="1ddde273-4c63-446d-8aec-866cb2e465f8" providerId="ADAL" clId="{7F85303F-8F5A-40D4-B704-125A75E9D344}" dt="2025-03-07T14:50:00.554" v="27" actId="20577"/>
          <ac:spMkLst>
            <pc:docMk/>
            <pc:sldMk cId="3800843079" sldId="558"/>
            <ac:spMk id="4" creationId="{00000000-0000-0000-0000-000000000000}"/>
          </ac:spMkLst>
        </pc:spChg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1596061055" sldId="683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2246974120" sldId="2134804379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3994852623" sldId="2134804380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2898433376" sldId="2134804381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3074858380" sldId="2134804385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793248184" sldId="2134804386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2044836057" sldId="2134804387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2091170063" sldId="2134804388"/>
        </pc:sldMkLst>
      </pc:sldChg>
      <pc:sldChg chg="add 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3450368307" sldId="2134804389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2620805401" sldId="2134804393"/>
        </pc:sldMkLst>
      </pc:sldChg>
      <pc:sldChg chg="del">
        <pc:chgData name="Schwander Nathalie (HKBB)" userId="1ddde273-4c63-446d-8aec-866cb2e465f8" providerId="ADAL" clId="{7F85303F-8F5A-40D4-B704-125A75E9D344}" dt="2025-03-07T14:43:23.260" v="4" actId="2696"/>
        <pc:sldMkLst>
          <pc:docMk/>
          <pc:sldMk cId="1852770993" sldId="2134804394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1504951016" sldId="2134804395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664244944" sldId="2134804396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186113414" sldId="2134804397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137302776" sldId="2134804398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2280442076" sldId="2134804399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4143817569" sldId="2134804400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2081230883" sldId="2134804401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4081223526" sldId="2134804402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3464725709" sldId="2134804403"/>
        </pc:sldMkLst>
      </pc:sldChg>
      <pc:sldChg chg="add">
        <pc:chgData name="Schwander Nathalie (HKBB)" userId="1ddde273-4c63-446d-8aec-866cb2e465f8" providerId="ADAL" clId="{7F85303F-8F5A-40D4-B704-125A75E9D344}" dt="2025-03-07T14:42:52.840" v="2"/>
        <pc:sldMkLst>
          <pc:docMk/>
          <pc:sldMk cId="435686270" sldId="2134804404"/>
        </pc:sldMkLst>
      </pc:sldChg>
      <pc:sldChg chg="add del">
        <pc:chgData name="Schwander Nathalie (HKBB)" userId="1ddde273-4c63-446d-8aec-866cb2e465f8" providerId="ADAL" clId="{7F85303F-8F5A-40D4-B704-125A75E9D344}" dt="2025-03-07T14:43:07.396" v="3" actId="2696"/>
        <pc:sldMkLst>
          <pc:docMk/>
          <pc:sldMk cId="1235469709" sldId="2134804405"/>
        </pc:sldMkLst>
      </pc:sldChg>
    </pc:docChg>
  </pc:docChgLst>
  <pc:docChgLst>
    <pc:chgData name="Buchecker Silvan (HKBB)" userId="b3e5a4af-bdc2-4a5b-91f8-8b71918e2e87" providerId="ADAL" clId="{08A58601-8B9A-4292-9CCB-E0DD6EB1D72A}"/>
    <pc:docChg chg="undo custSel addSld delSld modSld sldOrd">
      <pc:chgData name="Buchecker Silvan (HKBB)" userId="b3e5a4af-bdc2-4a5b-91f8-8b71918e2e87" providerId="ADAL" clId="{08A58601-8B9A-4292-9CCB-E0DD6EB1D72A}" dt="2025-01-21T17:18:43.522" v="326"/>
      <pc:docMkLst>
        <pc:docMk/>
      </pc:docMkLst>
      <pc:sldChg chg="modSp mod">
        <pc:chgData name="Buchecker Silvan (HKBB)" userId="b3e5a4af-bdc2-4a5b-91f8-8b71918e2e87" providerId="ADAL" clId="{08A58601-8B9A-4292-9CCB-E0DD6EB1D72A}" dt="2025-01-20T15:37:11.518" v="267" actId="20577"/>
        <pc:sldMkLst>
          <pc:docMk/>
          <pc:sldMk cId="453062407" sldId="555"/>
        </pc:sldMkLst>
      </pc:sldChg>
      <pc:sldChg chg="modSp mod">
        <pc:chgData name="Buchecker Silvan (HKBB)" userId="b3e5a4af-bdc2-4a5b-91f8-8b71918e2e87" providerId="ADAL" clId="{08A58601-8B9A-4292-9CCB-E0DD6EB1D72A}" dt="2025-01-20T15:12:36.449" v="196" actId="14100"/>
        <pc:sldMkLst>
          <pc:docMk/>
          <pc:sldMk cId="2996992431" sldId="675"/>
        </pc:sldMkLst>
        <pc:spChg chg="mod">
          <ac:chgData name="Buchecker Silvan (HKBB)" userId="b3e5a4af-bdc2-4a5b-91f8-8b71918e2e87" providerId="ADAL" clId="{08A58601-8B9A-4292-9CCB-E0DD6EB1D72A}" dt="2025-01-20T15:12:36.449" v="196" actId="14100"/>
          <ac:spMkLst>
            <pc:docMk/>
            <pc:sldMk cId="2996992431" sldId="675"/>
            <ac:spMk id="6" creationId="{9539B0D8-58DD-40F8-5803-759B1F9685A2}"/>
          </ac:spMkLst>
        </pc:spChg>
      </pc:sldChg>
      <pc:sldChg chg="del">
        <pc:chgData name="Buchecker Silvan (HKBB)" userId="b3e5a4af-bdc2-4a5b-91f8-8b71918e2e87" providerId="ADAL" clId="{08A58601-8B9A-4292-9CCB-E0DD6EB1D72A}" dt="2025-01-17T15:52:10.880" v="194" actId="47"/>
        <pc:sldMkLst>
          <pc:docMk/>
          <pc:sldMk cId="2184935872" sldId="2134804372"/>
        </pc:sldMkLst>
      </pc:sldChg>
      <pc:sldChg chg="modSp mod">
        <pc:chgData name="Buchecker Silvan (HKBB)" userId="b3e5a4af-bdc2-4a5b-91f8-8b71918e2e87" providerId="ADAL" clId="{08A58601-8B9A-4292-9CCB-E0DD6EB1D72A}" dt="2025-01-21T17:16:56.958" v="322" actId="113"/>
        <pc:sldMkLst>
          <pc:docMk/>
          <pc:sldMk cId="3994852623" sldId="2134804380"/>
        </pc:sldMkLst>
      </pc:sldChg>
      <pc:sldChg chg="modSp mod">
        <pc:chgData name="Buchecker Silvan (HKBB)" userId="b3e5a4af-bdc2-4a5b-91f8-8b71918e2e87" providerId="ADAL" clId="{08A58601-8B9A-4292-9CCB-E0DD6EB1D72A}" dt="2025-01-20T15:52:19.231" v="312" actId="20577"/>
        <pc:sldMkLst>
          <pc:docMk/>
          <pc:sldMk cId="4265587955" sldId="2134804383"/>
        </pc:sldMkLst>
      </pc:sldChg>
      <pc:sldChg chg="addSp delSp modSp add mod ord">
        <pc:chgData name="Buchecker Silvan (HKBB)" userId="b3e5a4af-bdc2-4a5b-91f8-8b71918e2e87" providerId="ADAL" clId="{08A58601-8B9A-4292-9CCB-E0DD6EB1D72A}" dt="2025-01-21T17:18:37.264" v="324"/>
        <pc:sldMkLst>
          <pc:docMk/>
          <pc:sldMk cId="2134818772" sldId="2134804384"/>
        </pc:sldMkLst>
      </pc:sldChg>
      <pc:sldChg chg="addSp delSp modSp new mod ord">
        <pc:chgData name="Buchecker Silvan (HKBB)" userId="b3e5a4af-bdc2-4a5b-91f8-8b71918e2e87" providerId="ADAL" clId="{08A58601-8B9A-4292-9CCB-E0DD6EB1D72A}" dt="2025-01-21T17:18:43.522" v="326"/>
        <pc:sldMkLst>
          <pc:docMk/>
          <pc:sldMk cId="3074858380" sldId="2134804385"/>
        </pc:sldMkLst>
      </pc:sldChg>
    </pc:docChg>
  </pc:docChgLst>
  <pc:docChgLst>
    <pc:chgData name="Urgese Luca (HKBB)" userId="6bc9ca5c-d5be-4142-94e7-3d16171e6324" providerId="ADAL" clId="{1C867B90-E9B1-47DC-8978-D33F36653180}"/>
    <pc:docChg chg="addSld delSld modSld">
      <pc:chgData name="Urgese Luca (HKBB)" userId="6bc9ca5c-d5be-4142-94e7-3d16171e6324" providerId="ADAL" clId="{1C867B90-E9B1-47DC-8978-D33F36653180}" dt="2025-01-17T14:46:19.369" v="1" actId="47"/>
      <pc:docMkLst>
        <pc:docMk/>
      </pc:docMkLst>
      <pc:sldChg chg="add del">
        <pc:chgData name="Urgese Luca (HKBB)" userId="6bc9ca5c-d5be-4142-94e7-3d16171e6324" providerId="ADAL" clId="{1C867B90-E9B1-47DC-8978-D33F36653180}" dt="2025-01-17T14:46:19.369" v="1" actId="47"/>
        <pc:sldMkLst>
          <pc:docMk/>
          <pc:sldMk cId="4276066598" sldId="2134804384"/>
        </pc:sldMkLst>
      </pc:sldChg>
    </pc:docChg>
  </pc:docChgLst>
  <pc:docChgLst>
    <pc:chgData name="Raaflaub Brigitte (HKBB)" userId="898427e0-eac9-43b3-88d7-c5a51a2fe9c7" providerId="ADAL" clId="{043D55B8-A1B0-45F1-ADEB-69FF7AEF421D}"/>
    <pc:docChg chg="undo custSel modSld">
      <pc:chgData name="Raaflaub Brigitte (HKBB)" userId="898427e0-eac9-43b3-88d7-c5a51a2fe9c7" providerId="ADAL" clId="{043D55B8-A1B0-45F1-ADEB-69FF7AEF421D}" dt="2024-10-15T09:46:54.507" v="126" actId="14100"/>
      <pc:docMkLst>
        <pc:docMk/>
      </pc:docMkLst>
      <pc:sldChg chg="addSp delSp modSp mod">
        <pc:chgData name="Raaflaub Brigitte (HKBB)" userId="898427e0-eac9-43b3-88d7-c5a51a2fe9c7" providerId="ADAL" clId="{043D55B8-A1B0-45F1-ADEB-69FF7AEF421D}" dt="2024-10-15T09:46:54.507" v="126" actId="14100"/>
        <pc:sldMkLst>
          <pc:docMk/>
          <pc:sldMk cId="2314239642" sldId="680"/>
        </pc:sldMkLst>
      </pc:sldChg>
      <pc:sldChg chg="addSp delSp modSp mod">
        <pc:chgData name="Raaflaub Brigitte (HKBB)" userId="898427e0-eac9-43b3-88d7-c5a51a2fe9c7" providerId="ADAL" clId="{043D55B8-A1B0-45F1-ADEB-69FF7AEF421D}" dt="2024-10-15T09:46:11.802" v="120" actId="478"/>
        <pc:sldMkLst>
          <pc:docMk/>
          <pc:sldMk cId="4257588460" sldId="681"/>
        </pc:sldMkLst>
      </pc:sldChg>
    </pc:docChg>
  </pc:docChgLst>
  <pc:docChgLst>
    <pc:chgData name="Buchecker Silvan (HKBB)" userId="b3e5a4af-bdc2-4a5b-91f8-8b71918e2e87" providerId="ADAL" clId="{420A646D-29AA-467B-B34D-90F097739A01}"/>
    <pc:docChg chg="undo redo custSel addSld delSld modSld">
      <pc:chgData name="Buchecker Silvan (HKBB)" userId="b3e5a4af-bdc2-4a5b-91f8-8b71918e2e87" providerId="ADAL" clId="{420A646D-29AA-467B-B34D-90F097739A01}" dt="2024-02-13T10:49:53.774" v="107" actId="478"/>
      <pc:docMkLst>
        <pc:docMk/>
      </pc:docMkLst>
      <pc:sldChg chg="addSp delSp modSp add mod">
        <pc:chgData name="Buchecker Silvan (HKBB)" userId="b3e5a4af-bdc2-4a5b-91f8-8b71918e2e87" providerId="ADAL" clId="{420A646D-29AA-467B-B34D-90F097739A01}" dt="2024-02-13T10:49:53.774" v="107" actId="478"/>
        <pc:sldMkLst>
          <pc:docMk/>
          <pc:sldMk cId="2982702812" sldId="379"/>
        </pc:sldMkLst>
      </pc:sldChg>
      <pc:sldChg chg="modSp add">
        <pc:chgData name="Buchecker Silvan (HKBB)" userId="b3e5a4af-bdc2-4a5b-91f8-8b71918e2e87" providerId="ADAL" clId="{420A646D-29AA-467B-B34D-90F097739A01}" dt="2024-02-13T10:43:03.216" v="38"/>
        <pc:sldMkLst>
          <pc:docMk/>
          <pc:sldMk cId="65065524" sldId="386"/>
        </pc:sldMkLst>
      </pc:sldChg>
      <pc:sldChg chg="modSp add">
        <pc:chgData name="Buchecker Silvan (HKBB)" userId="b3e5a4af-bdc2-4a5b-91f8-8b71918e2e87" providerId="ADAL" clId="{420A646D-29AA-467B-B34D-90F097739A01}" dt="2024-02-13T10:43:09.189" v="39"/>
        <pc:sldMkLst>
          <pc:docMk/>
          <pc:sldMk cId="1743774651" sldId="394"/>
        </pc:sldMkLst>
      </pc:sldChg>
      <pc:sldChg chg="modSp mod">
        <pc:chgData name="Buchecker Silvan (HKBB)" userId="b3e5a4af-bdc2-4a5b-91f8-8b71918e2e87" providerId="ADAL" clId="{420A646D-29AA-467B-B34D-90F097739A01}" dt="2024-02-13T10:39:01.989" v="35" actId="20577"/>
        <pc:sldMkLst>
          <pc:docMk/>
          <pc:sldMk cId="4046067636" sldId="557"/>
        </pc:sldMkLst>
      </pc:sldChg>
      <pc:sldChg chg="add del">
        <pc:chgData name="Buchecker Silvan (HKBB)" userId="b3e5a4af-bdc2-4a5b-91f8-8b71918e2e87" providerId="ADAL" clId="{420A646D-29AA-467B-B34D-90F097739A01}" dt="2024-02-13T10:43:12.297" v="40" actId="47"/>
        <pc:sldMkLst>
          <pc:docMk/>
          <pc:sldMk cId="4063314143" sldId="680"/>
        </pc:sldMkLst>
      </pc:sldChg>
    </pc:docChg>
  </pc:docChgLst>
  <pc:docChgLst>
    <pc:chgData name="Schwander Nathalie (HKBB)" userId="1ddde273-4c63-446d-8aec-866cb2e465f8" providerId="ADAL" clId="{B0599FF9-3983-4F83-AC80-51C7971A707D}"/>
    <pc:docChg chg="undo custSel addSld delSld modSld sldOrd modMainMaster">
      <pc:chgData name="Schwander Nathalie (HKBB)" userId="1ddde273-4c63-446d-8aec-866cb2e465f8" providerId="ADAL" clId="{B0599FF9-3983-4F83-AC80-51C7971A707D}" dt="2024-10-14T13:11:03.679" v="391"/>
      <pc:docMkLst>
        <pc:docMk/>
      </pc:docMkLst>
      <pc:sldChg chg="del">
        <pc:chgData name="Schwander Nathalie (HKBB)" userId="1ddde273-4c63-446d-8aec-866cb2e465f8" providerId="ADAL" clId="{B0599FF9-3983-4F83-AC80-51C7971A707D}" dt="2024-10-14T11:34:36.973" v="260" actId="47"/>
        <pc:sldMkLst>
          <pc:docMk/>
          <pc:sldMk cId="0" sldId="256"/>
        </pc:sldMkLst>
      </pc:sldChg>
      <pc:sldChg chg="del">
        <pc:chgData name="Schwander Nathalie (HKBB)" userId="1ddde273-4c63-446d-8aec-866cb2e465f8" providerId="ADAL" clId="{B0599FF9-3983-4F83-AC80-51C7971A707D}" dt="2024-10-14T11:31:18.861" v="123" actId="2696"/>
        <pc:sldMkLst>
          <pc:docMk/>
          <pc:sldMk cId="2982702812" sldId="379"/>
        </pc:sldMkLst>
      </pc:sldChg>
      <pc:sldChg chg="del">
        <pc:chgData name="Schwander Nathalie (HKBB)" userId="1ddde273-4c63-446d-8aec-866cb2e465f8" providerId="ADAL" clId="{B0599FF9-3983-4F83-AC80-51C7971A707D}" dt="2024-10-14T11:31:19.910" v="124" actId="2696"/>
        <pc:sldMkLst>
          <pc:docMk/>
          <pc:sldMk cId="65065524" sldId="386"/>
        </pc:sldMkLst>
      </pc:sldChg>
      <pc:sldChg chg="del">
        <pc:chgData name="Schwander Nathalie (HKBB)" userId="1ddde273-4c63-446d-8aec-866cb2e465f8" providerId="ADAL" clId="{B0599FF9-3983-4F83-AC80-51C7971A707D}" dt="2024-10-14T11:31:21.020" v="125" actId="2696"/>
        <pc:sldMkLst>
          <pc:docMk/>
          <pc:sldMk cId="1743774651" sldId="394"/>
        </pc:sldMkLst>
      </pc:sldChg>
      <pc:sldChg chg="add ord">
        <pc:chgData name="Schwander Nathalie (HKBB)" userId="1ddde273-4c63-446d-8aec-866cb2e465f8" providerId="ADAL" clId="{B0599FF9-3983-4F83-AC80-51C7971A707D}" dt="2024-10-14T13:09:11.222" v="378"/>
        <pc:sldMkLst>
          <pc:docMk/>
          <pc:sldMk cId="2259522252" sldId="415"/>
        </pc:sldMkLst>
      </pc:sldChg>
      <pc:sldChg chg="del">
        <pc:chgData name="Schwander Nathalie (HKBB)" userId="1ddde273-4c63-446d-8aec-866cb2e465f8" providerId="ADAL" clId="{B0599FF9-3983-4F83-AC80-51C7971A707D}" dt="2024-10-14T11:34:31.631" v="258" actId="47"/>
        <pc:sldMkLst>
          <pc:docMk/>
          <pc:sldMk cId="1494579602" sldId="416"/>
        </pc:sldMkLst>
      </pc:sldChg>
      <pc:sldChg chg="del">
        <pc:chgData name="Schwander Nathalie (HKBB)" userId="1ddde273-4c63-446d-8aec-866cb2e465f8" providerId="ADAL" clId="{B0599FF9-3983-4F83-AC80-51C7971A707D}" dt="2024-10-14T11:34:32.850" v="259" actId="47"/>
        <pc:sldMkLst>
          <pc:docMk/>
          <pc:sldMk cId="1585631509" sldId="524"/>
        </pc:sldMkLst>
      </pc:sldChg>
      <pc:sldChg chg="del">
        <pc:chgData name="Schwander Nathalie (HKBB)" userId="1ddde273-4c63-446d-8aec-866cb2e465f8" providerId="ADAL" clId="{B0599FF9-3983-4F83-AC80-51C7971A707D}" dt="2024-10-14T13:11:00.202" v="390" actId="47"/>
        <pc:sldMkLst>
          <pc:docMk/>
          <pc:sldMk cId="350616736" sldId="545"/>
        </pc:sldMkLst>
      </pc:sldChg>
      <pc:sldChg chg="ord">
        <pc:chgData name="Schwander Nathalie (HKBB)" userId="1ddde273-4c63-446d-8aec-866cb2e465f8" providerId="ADAL" clId="{B0599FF9-3983-4F83-AC80-51C7971A707D}" dt="2024-10-14T13:09:47.362" v="382"/>
        <pc:sldMkLst>
          <pc:docMk/>
          <pc:sldMk cId="2314239642" sldId="680"/>
        </pc:sldMkLst>
      </pc:sldChg>
      <pc:sldChg chg="ord">
        <pc:chgData name="Schwander Nathalie (HKBB)" userId="1ddde273-4c63-446d-8aec-866cb2e465f8" providerId="ADAL" clId="{B0599FF9-3983-4F83-AC80-51C7971A707D}" dt="2024-10-14T13:10:02.541" v="384"/>
        <pc:sldMkLst>
          <pc:docMk/>
          <pc:sldMk cId="4257588460" sldId="681"/>
        </pc:sldMkLst>
      </pc:sldChg>
      <pc:sldChg chg="add">
        <pc:chgData name="Schwander Nathalie (HKBB)" userId="1ddde273-4c63-446d-8aec-866cb2e465f8" providerId="ADAL" clId="{B0599FF9-3983-4F83-AC80-51C7971A707D}" dt="2024-10-14T13:11:03.679" v="391"/>
        <pc:sldMkLst>
          <pc:docMk/>
          <pc:sldMk cId="1596061055" sldId="683"/>
        </pc:sldMkLst>
      </pc:sldChg>
      <pc:sldChg chg="ord">
        <pc:chgData name="Schwander Nathalie (HKBB)" userId="1ddde273-4c63-446d-8aec-866cb2e465f8" providerId="ADAL" clId="{B0599FF9-3983-4F83-AC80-51C7971A707D}" dt="2024-10-14T13:10:44.728" v="388"/>
        <pc:sldMkLst>
          <pc:docMk/>
          <pc:sldMk cId="573609149" sldId="684"/>
        </pc:sldMkLst>
      </pc:sldChg>
      <pc:sldChg chg="del">
        <pc:chgData name="Schwander Nathalie (HKBB)" userId="1ddde273-4c63-446d-8aec-866cb2e465f8" providerId="ADAL" clId="{B0599FF9-3983-4F83-AC80-51C7971A707D}" dt="2024-10-14T11:31:22.219" v="126" actId="2696"/>
        <pc:sldMkLst>
          <pc:docMk/>
          <pc:sldMk cId="786413827" sldId="685"/>
        </pc:sldMkLst>
      </pc:sldChg>
      <pc:sldChg chg="addSp modSp del mod">
        <pc:chgData name="Schwander Nathalie (HKBB)" userId="1ddde273-4c63-446d-8aec-866cb2e465f8" providerId="ADAL" clId="{B0599FF9-3983-4F83-AC80-51C7971A707D}" dt="2024-10-14T13:10:56.653" v="389" actId="47"/>
        <pc:sldMkLst>
          <pc:docMk/>
          <pc:sldMk cId="3749052628" sldId="688"/>
        </pc:sldMkLst>
      </pc:sldChg>
      <pc:sldChg chg="delSp modSp add mod">
        <pc:chgData name="Schwander Nathalie (HKBB)" userId="1ddde273-4c63-446d-8aec-866cb2e465f8" providerId="ADAL" clId="{B0599FF9-3983-4F83-AC80-51C7971A707D}" dt="2024-10-14T11:35:48.033" v="309" actId="20577"/>
        <pc:sldMkLst>
          <pc:docMk/>
          <pc:sldMk cId="79153827" sldId="689"/>
        </pc:sldMkLst>
      </pc:sldChg>
      <pc:sldChg chg="del">
        <pc:chgData name="Schwander Nathalie (HKBB)" userId="1ddde273-4c63-446d-8aec-866cb2e465f8" providerId="ADAL" clId="{B0599FF9-3983-4F83-AC80-51C7971A707D}" dt="2024-10-14T11:34:46.917" v="261" actId="47"/>
        <pc:sldMkLst>
          <pc:docMk/>
          <pc:sldMk cId="1461949641" sldId="689"/>
        </pc:sldMkLst>
      </pc:sldChg>
      <pc:sldChg chg="add ord">
        <pc:chgData name="Schwander Nathalie (HKBB)" userId="1ddde273-4c63-446d-8aec-866cb2e465f8" providerId="ADAL" clId="{B0599FF9-3983-4F83-AC80-51C7971A707D}" dt="2024-10-14T13:09:28.201" v="380"/>
        <pc:sldMkLst>
          <pc:docMk/>
          <pc:sldMk cId="603936504" sldId="2134804358"/>
        </pc:sldMkLst>
      </pc:sldChg>
      <pc:sldChg chg="modSp add ord">
        <pc:chgData name="Schwander Nathalie (HKBB)" userId="1ddde273-4c63-446d-8aec-866cb2e465f8" providerId="ADAL" clId="{B0599FF9-3983-4F83-AC80-51C7971A707D}" dt="2024-10-14T13:08:59.024" v="376"/>
        <pc:sldMkLst>
          <pc:docMk/>
          <pc:sldMk cId="2184935872" sldId="2134804372"/>
        </pc:sldMkLst>
      </pc:sldChg>
      <pc:sldChg chg="add ord">
        <pc:chgData name="Schwander Nathalie (HKBB)" userId="1ddde273-4c63-446d-8aec-866cb2e465f8" providerId="ADAL" clId="{B0599FF9-3983-4F83-AC80-51C7971A707D}" dt="2024-10-14T13:10:16.175" v="386"/>
        <pc:sldMkLst>
          <pc:docMk/>
          <pc:sldMk cId="4165682228" sldId="2134804374"/>
        </pc:sldMkLst>
      </pc:sldChg>
    </pc:docChg>
  </pc:docChgLst>
  <pc:docChgLst>
    <pc:chgData name="Schwander Nathalie (HKBB)" userId="1ddde273-4c63-446d-8aec-866cb2e465f8" providerId="ADAL" clId="{052EBBF3-8357-419B-A5C7-B7DA998178DF}"/>
    <pc:docChg chg="addSld delSld modSld sldOrd modMainMaster">
      <pc:chgData name="Schwander Nathalie (HKBB)" userId="1ddde273-4c63-446d-8aec-866cb2e465f8" providerId="ADAL" clId="{052EBBF3-8357-419B-A5C7-B7DA998178DF}" dt="2025-01-28T16:04:25.529" v="284" actId="20577"/>
      <pc:docMkLst>
        <pc:docMk/>
      </pc:docMkLst>
      <pc:sldChg chg="addSp modSp add mod">
        <pc:chgData name="Schwander Nathalie (HKBB)" userId="1ddde273-4c63-446d-8aec-866cb2e465f8" providerId="ADAL" clId="{052EBBF3-8357-419B-A5C7-B7DA998178DF}" dt="2025-01-28T16:04:04.317" v="257" actId="20577"/>
        <pc:sldMkLst>
          <pc:docMk/>
          <pc:sldMk cId="225996379" sldId="377"/>
        </pc:sldMkLst>
      </pc:sldChg>
      <pc:sldChg chg="modSp mod">
        <pc:chgData name="Schwander Nathalie (HKBB)" userId="1ddde273-4c63-446d-8aec-866cb2e465f8" providerId="ADAL" clId="{052EBBF3-8357-419B-A5C7-B7DA998178DF}" dt="2025-01-28T16:00:20.906" v="151" actId="20577"/>
        <pc:sldMkLst>
          <pc:docMk/>
          <pc:sldMk cId="2996992431" sldId="675"/>
        </pc:sldMkLst>
        <pc:spChg chg="mod">
          <ac:chgData name="Schwander Nathalie (HKBB)" userId="1ddde273-4c63-446d-8aec-866cb2e465f8" providerId="ADAL" clId="{052EBBF3-8357-419B-A5C7-B7DA998178DF}" dt="2025-01-28T15:02:10.776" v="23" actId="20577"/>
          <ac:spMkLst>
            <pc:docMk/>
            <pc:sldMk cId="2996992431" sldId="675"/>
            <ac:spMk id="2" creationId="{066FE281-510A-134D-B0DA-B139B483A9CE}"/>
          </ac:spMkLst>
        </pc:spChg>
        <pc:spChg chg="mod">
          <ac:chgData name="Schwander Nathalie (HKBB)" userId="1ddde273-4c63-446d-8aec-866cb2e465f8" providerId="ADAL" clId="{052EBBF3-8357-419B-A5C7-B7DA998178DF}" dt="2025-01-28T15:02:43.270" v="63" actId="6549"/>
          <ac:spMkLst>
            <pc:docMk/>
            <pc:sldMk cId="2996992431" sldId="675"/>
            <ac:spMk id="4" creationId="{39BF49FF-D6E9-9345-A78B-0A6F5FCB6580}"/>
          </ac:spMkLst>
        </pc:spChg>
        <pc:spChg chg="mod">
          <ac:chgData name="Schwander Nathalie (HKBB)" userId="1ddde273-4c63-446d-8aec-866cb2e465f8" providerId="ADAL" clId="{052EBBF3-8357-419B-A5C7-B7DA998178DF}" dt="2025-01-28T16:00:20.906" v="151" actId="20577"/>
          <ac:spMkLst>
            <pc:docMk/>
            <pc:sldMk cId="2996992431" sldId="675"/>
            <ac:spMk id="5" creationId="{E92D729A-431E-EC4E-89C9-2936C08BACE0}"/>
          </ac:spMkLst>
        </pc:spChg>
        <pc:spChg chg="mod">
          <ac:chgData name="Schwander Nathalie (HKBB)" userId="1ddde273-4c63-446d-8aec-866cb2e465f8" providerId="ADAL" clId="{052EBBF3-8357-419B-A5C7-B7DA998178DF}" dt="2025-01-28T16:00:07.544" v="130" actId="6549"/>
          <ac:spMkLst>
            <pc:docMk/>
            <pc:sldMk cId="2996992431" sldId="675"/>
            <ac:spMk id="6" creationId="{9539B0D8-58DD-40F8-5803-759B1F9685A2}"/>
          </ac:spMkLst>
        </pc:spChg>
      </pc:sldChg>
      <pc:sldChg chg="ord">
        <pc:chgData name="Schwander Nathalie (HKBB)" userId="1ddde273-4c63-446d-8aec-866cb2e465f8" providerId="ADAL" clId="{052EBBF3-8357-419B-A5C7-B7DA998178DF}" dt="2025-01-28T16:03:13.073" v="237"/>
        <pc:sldMkLst>
          <pc:docMk/>
          <pc:sldMk cId="1596061055" sldId="683"/>
        </pc:sldMkLst>
      </pc:sldChg>
      <pc:sldChg chg="addSp modSp mod">
        <pc:chgData name="Schwander Nathalie (HKBB)" userId="1ddde273-4c63-446d-8aec-866cb2e465f8" providerId="ADAL" clId="{052EBBF3-8357-419B-A5C7-B7DA998178DF}" dt="2025-01-28T16:04:25.529" v="284" actId="20577"/>
        <pc:sldMkLst>
          <pc:docMk/>
          <pc:sldMk cId="2898433376" sldId="2134804381"/>
        </pc:sldMkLst>
      </pc:sldChg>
      <pc:sldChg chg="del">
        <pc:chgData name="Schwander Nathalie (HKBB)" userId="1ddde273-4c63-446d-8aec-866cb2e465f8" providerId="ADAL" clId="{052EBBF3-8357-419B-A5C7-B7DA998178DF}" dt="2025-01-28T16:02:50.810" v="234" actId="2696"/>
        <pc:sldMkLst>
          <pc:docMk/>
          <pc:sldMk cId="3403175453" sldId="2134804382"/>
        </pc:sldMkLst>
      </pc:sldChg>
      <pc:sldChg chg="del">
        <pc:chgData name="Schwander Nathalie (HKBB)" userId="1ddde273-4c63-446d-8aec-866cb2e465f8" providerId="ADAL" clId="{052EBBF3-8357-419B-A5C7-B7DA998178DF}" dt="2025-01-28T16:02:53.647" v="235" actId="2696"/>
        <pc:sldMkLst>
          <pc:docMk/>
          <pc:sldMk cId="4265587955" sldId="2134804383"/>
        </pc:sldMkLst>
      </pc:sldChg>
      <pc:sldMasterChg chg="modSp mod modSldLayout">
        <pc:chgData name="Schwander Nathalie (HKBB)" userId="1ddde273-4c63-446d-8aec-866cb2e465f8" providerId="ADAL" clId="{052EBBF3-8357-419B-A5C7-B7DA998178DF}" dt="2025-01-28T16:01:24.494" v="233" actId="20577"/>
        <pc:sldMasterMkLst>
          <pc:docMk/>
          <pc:sldMasterMk cId="1759221374" sldId="2147483670"/>
        </pc:sldMasterMkLst>
        <pc:spChg chg="mod">
          <ac:chgData name="Schwander Nathalie (HKBB)" userId="1ddde273-4c63-446d-8aec-866cb2e465f8" providerId="ADAL" clId="{052EBBF3-8357-419B-A5C7-B7DA998178DF}" dt="2025-01-28T16:00:51.136" v="184" actId="20577"/>
          <ac:spMkLst>
            <pc:docMk/>
            <pc:sldMasterMk cId="1759221374" sldId="2147483670"/>
            <ac:spMk id="23" creationId="{452A3C52-BEFF-9B42-B2D9-CB85F264AE15}"/>
          </ac:spMkLst>
        </pc:spChg>
        <pc:spChg chg="mod">
          <ac:chgData name="Schwander Nathalie (HKBB)" userId="1ddde273-4c63-446d-8aec-866cb2e465f8" providerId="ADAL" clId="{052EBBF3-8357-419B-A5C7-B7DA998178DF}" dt="2025-01-28T16:00:39.865" v="175" actId="20577"/>
          <ac:spMkLst>
            <pc:docMk/>
            <pc:sldMasterMk cId="1759221374" sldId="2147483670"/>
            <ac:spMk id="28" creationId="{5C01355E-1CCD-A145-83C1-5C4BFF1488FB}"/>
          </ac:spMkLst>
        </pc:spChg>
        <pc:sldLayoutChg chg="modSp mod">
          <pc:chgData name="Schwander Nathalie (HKBB)" userId="1ddde273-4c63-446d-8aec-866cb2e465f8" providerId="ADAL" clId="{052EBBF3-8357-419B-A5C7-B7DA998178DF}" dt="2025-01-28T16:01:24.494" v="233" actId="20577"/>
          <pc:sldLayoutMkLst>
            <pc:docMk/>
            <pc:sldMasterMk cId="1759221374" sldId="2147483670"/>
            <pc:sldLayoutMk cId="2229963026" sldId="2147483681"/>
          </pc:sldLayoutMkLst>
          <pc:spChg chg="mod">
            <ac:chgData name="Schwander Nathalie (HKBB)" userId="1ddde273-4c63-446d-8aec-866cb2e465f8" providerId="ADAL" clId="{052EBBF3-8357-419B-A5C7-B7DA998178DF}" dt="2025-01-28T16:01:24.494" v="233" actId="20577"/>
            <ac:spMkLst>
              <pc:docMk/>
              <pc:sldMasterMk cId="1759221374" sldId="2147483670"/>
              <pc:sldLayoutMk cId="2229963026" sldId="2147483681"/>
              <ac:spMk id="5" creationId="{2AE6E335-C5F4-484B-B772-36E477C6C423}"/>
            </ac:spMkLst>
          </pc:spChg>
          <pc:spChg chg="mod">
            <ac:chgData name="Schwander Nathalie (HKBB)" userId="1ddde273-4c63-446d-8aec-866cb2e465f8" providerId="ADAL" clId="{052EBBF3-8357-419B-A5C7-B7DA998178DF}" dt="2025-01-28T16:01:08.421" v="208" actId="20577"/>
            <ac:spMkLst>
              <pc:docMk/>
              <pc:sldMasterMk cId="1759221374" sldId="2147483670"/>
              <pc:sldLayoutMk cId="2229963026" sldId="2147483681"/>
              <ac:spMk id="6" creationId="{1D8A2388-9E06-C24E-A2F2-8578F7B81CEE}"/>
            </ac:spMkLst>
          </pc:spChg>
        </pc:sldLayoutChg>
      </pc:sldMasterChg>
    </pc:docChg>
  </pc:docChgLst>
  <pc:docChgLst>
    <pc:chgData name="Urgese Luca (HKBB)" userId="S::l.urgese@hkbb.ch::6bc9ca5c-d5be-4142-94e7-3d16171e6324" providerId="AD" clId="Web-{974067CD-ECDE-D696-5D18-063B1F01ABD3}"/>
    <pc:docChg chg="modSld">
      <pc:chgData name="Urgese Luca (HKBB)" userId="S::l.urgese@hkbb.ch::6bc9ca5c-d5be-4142-94e7-3d16171e6324" providerId="AD" clId="Web-{974067CD-ECDE-D696-5D18-063B1F01ABD3}" dt="2024-11-05T08:17:25.902" v="178" actId="20577"/>
      <pc:docMkLst>
        <pc:docMk/>
      </pc:docMkLst>
      <pc:sldChg chg="modSp">
        <pc:chgData name="Urgese Luca (HKBB)" userId="S::l.urgese@hkbb.ch::6bc9ca5c-d5be-4142-94e7-3d16171e6324" providerId="AD" clId="Web-{974067CD-ECDE-D696-5D18-063B1F01ABD3}" dt="2024-11-05T08:17:25.902" v="178" actId="20577"/>
        <pc:sldMkLst>
          <pc:docMk/>
          <pc:sldMk cId="603936504" sldId="2134804358"/>
        </pc:sldMkLst>
      </pc:sldChg>
    </pc:docChg>
  </pc:docChgLst>
  <pc:docChgLst>
    <pc:chgData name="Lüdin Daniel (HKBB)" userId="S::d.luedin@hkbb.ch::74c4c082-cc26-47d3-8fd2-c87c19ee9566" providerId="AD" clId="Web-{18C3FA1F-4DE8-AAB0-56EA-B1E6D74DCBF4}"/>
    <pc:docChg chg="addSld modSld">
      <pc:chgData name="Lüdin Daniel (HKBB)" userId="S::d.luedin@hkbb.ch::74c4c082-cc26-47d3-8fd2-c87c19ee9566" providerId="AD" clId="Web-{18C3FA1F-4DE8-AAB0-56EA-B1E6D74DCBF4}" dt="2025-01-14T15:52:07.440" v="114" actId="1076"/>
      <pc:docMkLst>
        <pc:docMk/>
      </pc:docMkLst>
      <pc:sldChg chg="addSp delSp modSp add">
        <pc:chgData name="Lüdin Daniel (HKBB)" userId="S::d.luedin@hkbb.ch::74c4c082-cc26-47d3-8fd2-c87c19ee9566" providerId="AD" clId="Web-{18C3FA1F-4DE8-AAB0-56EA-B1E6D74DCBF4}" dt="2025-01-14T15:52:07.440" v="114" actId="1076"/>
        <pc:sldMkLst>
          <pc:docMk/>
          <pc:sldMk cId="3994852623" sldId="2134804380"/>
        </pc:sldMkLst>
      </pc:sldChg>
    </pc:docChg>
  </pc:docChgLst>
  <pc:docChgLst>
    <pc:chgData name="Raaflaub Brigitte (HKBB)" userId="S::b.raaflaub@hkbb.ch::898427e0-eac9-43b3-88d7-c5a51a2fe9c7" providerId="AD" clId="Web-{2362E05C-A181-B4A8-9A3F-129475363053}"/>
    <pc:docChg chg="modSld">
      <pc:chgData name="Raaflaub Brigitte (HKBB)" userId="S::b.raaflaub@hkbb.ch::898427e0-eac9-43b3-88d7-c5a51a2fe9c7" providerId="AD" clId="Web-{2362E05C-A181-B4A8-9A3F-129475363053}" dt="2024-02-20T10:53:29.802" v="1" actId="14100"/>
      <pc:docMkLst>
        <pc:docMk/>
      </pc:docMkLst>
      <pc:sldChg chg="modSp">
        <pc:chgData name="Raaflaub Brigitte (HKBB)" userId="S::b.raaflaub@hkbb.ch::898427e0-eac9-43b3-88d7-c5a51a2fe9c7" providerId="AD" clId="Web-{2362E05C-A181-B4A8-9A3F-129475363053}" dt="2024-02-20T10:53:29.802" v="1" actId="14100"/>
        <pc:sldMkLst>
          <pc:docMk/>
          <pc:sldMk cId="3241322443" sldId="355"/>
        </pc:sldMkLst>
      </pc:sldChg>
      <pc:sldChg chg="modSp">
        <pc:chgData name="Raaflaub Brigitte (HKBB)" userId="S::b.raaflaub@hkbb.ch::898427e0-eac9-43b3-88d7-c5a51a2fe9c7" providerId="AD" clId="Web-{2362E05C-A181-B4A8-9A3F-129475363053}" dt="2024-02-20T10:52:56.442" v="0" actId="1076"/>
        <pc:sldMkLst>
          <pc:docMk/>
          <pc:sldMk cId="2912649134" sldId="372"/>
        </pc:sldMkLst>
      </pc:sldChg>
    </pc:docChg>
  </pc:docChgLst>
  <pc:docChgLst>
    <pc:chgData name="Fürstenberger Jasmin (HKBB)" userId="S::j.fuerstenberger@hkbb.ch::362c046b-470c-4684-90fc-26bc78d0433d" providerId="AD" clId="Web-{F4B1C30C-75F7-2403-B16F-B1393BD303F5}"/>
    <pc:docChg chg="modSld">
      <pc:chgData name="Fürstenberger Jasmin (HKBB)" userId="S::j.fuerstenberger@hkbb.ch::362c046b-470c-4684-90fc-26bc78d0433d" providerId="AD" clId="Web-{F4B1C30C-75F7-2403-B16F-B1393BD303F5}" dt="2025-03-04T15:22:53.998" v="6"/>
      <pc:docMkLst>
        <pc:docMk/>
      </pc:docMkLst>
      <pc:sldChg chg="modSp">
        <pc:chgData name="Fürstenberger Jasmin (HKBB)" userId="S::j.fuerstenberger@hkbb.ch::362c046b-470c-4684-90fc-26bc78d0433d" providerId="AD" clId="Web-{F4B1C30C-75F7-2403-B16F-B1393BD303F5}" dt="2025-03-04T15:22:53.998" v="6"/>
        <pc:sldMkLst>
          <pc:docMk/>
          <pc:sldMk cId="793248184" sldId="2134804386"/>
        </pc:sldMkLst>
      </pc:sldChg>
      <pc:sldChg chg="modSp">
        <pc:chgData name="Fürstenberger Jasmin (HKBB)" userId="S::j.fuerstenberger@hkbb.ch::362c046b-470c-4684-90fc-26bc78d0433d" providerId="AD" clId="Web-{F4B1C30C-75F7-2403-B16F-B1393BD303F5}" dt="2025-03-04T15:22:28.418" v="1" actId="20577"/>
        <pc:sldMkLst>
          <pc:docMk/>
          <pc:sldMk cId="2091170063" sldId="2134804388"/>
        </pc:sldMkLst>
      </pc:sldChg>
    </pc:docChg>
  </pc:docChgLst>
  <pc:docChgLst>
    <pc:chgData name="Schwander Nathalie (HKBB)" userId="1ddde273-4c63-446d-8aec-866cb2e465f8" providerId="ADAL" clId="{E8A94EE4-6522-43E6-A8D1-17E2055FC8AE}"/>
    <pc:docChg chg="custSel addSld delSld modSld modNotesMaster modHandout">
      <pc:chgData name="Schwander Nathalie (HKBB)" userId="1ddde273-4c63-446d-8aec-866cb2e465f8" providerId="ADAL" clId="{E8A94EE4-6522-43E6-A8D1-17E2055FC8AE}" dt="2024-11-12T07:48:44.115" v="265" actId="729"/>
      <pc:docMkLst>
        <pc:docMk/>
      </pc:docMkLst>
      <pc:sldChg chg="del">
        <pc:chgData name="Schwander Nathalie (HKBB)" userId="1ddde273-4c63-446d-8aec-866cb2e465f8" providerId="ADAL" clId="{E8A94EE4-6522-43E6-A8D1-17E2055FC8AE}" dt="2024-11-05T10:02:10.569" v="255" actId="2696"/>
        <pc:sldMkLst>
          <pc:docMk/>
          <pc:sldMk cId="2259522252" sldId="415"/>
        </pc:sldMkLst>
      </pc:sldChg>
      <pc:sldChg chg="modSp add del mod">
        <pc:chgData name="Schwander Nathalie (HKBB)" userId="1ddde273-4c63-446d-8aec-866cb2e465f8" providerId="ADAL" clId="{E8A94EE4-6522-43E6-A8D1-17E2055FC8AE}" dt="2024-11-05T10:03:14.004" v="256" actId="1076"/>
        <pc:sldMkLst>
          <pc:docMk/>
          <pc:sldMk cId="2314239642" sldId="680"/>
        </pc:sldMkLst>
      </pc:sldChg>
      <pc:sldChg chg="add del">
        <pc:chgData name="Schwander Nathalie (HKBB)" userId="1ddde273-4c63-446d-8aec-866cb2e465f8" providerId="ADAL" clId="{E8A94EE4-6522-43E6-A8D1-17E2055FC8AE}" dt="2024-11-05T10:01:31.428" v="253"/>
        <pc:sldMkLst>
          <pc:docMk/>
          <pc:sldMk cId="4257588460" sldId="681"/>
        </pc:sldMkLst>
      </pc:sldChg>
      <pc:sldChg chg="modSp add mod">
        <pc:chgData name="Schwander Nathalie (HKBB)" userId="1ddde273-4c63-446d-8aec-866cb2e465f8" providerId="ADAL" clId="{E8A94EE4-6522-43E6-A8D1-17E2055FC8AE}" dt="2024-11-05T10:03:49.782" v="258" actId="1076"/>
        <pc:sldMkLst>
          <pc:docMk/>
          <pc:sldMk cId="3655698743" sldId="682"/>
        </pc:sldMkLst>
      </pc:sldChg>
      <pc:sldChg chg="mod modShow">
        <pc:chgData name="Schwander Nathalie (HKBB)" userId="1ddde273-4c63-446d-8aec-866cb2e465f8" providerId="ADAL" clId="{E8A94EE4-6522-43E6-A8D1-17E2055FC8AE}" dt="2024-11-12T07:48:44.115" v="265" actId="729"/>
        <pc:sldMkLst>
          <pc:docMk/>
          <pc:sldMk cId="1596061055" sldId="683"/>
        </pc:sldMkLst>
      </pc:sldChg>
      <pc:sldChg chg="del">
        <pc:chgData name="Schwander Nathalie (HKBB)" userId="1ddde273-4c63-446d-8aec-866cb2e465f8" providerId="ADAL" clId="{E8A94EE4-6522-43E6-A8D1-17E2055FC8AE}" dt="2024-11-05T10:04:01.978" v="259" actId="2696"/>
        <pc:sldMkLst>
          <pc:docMk/>
          <pc:sldMk cId="573609149" sldId="684"/>
        </pc:sldMkLst>
      </pc:sldChg>
      <pc:sldChg chg="modSp del mod">
        <pc:chgData name="Schwander Nathalie (HKBB)" userId="1ddde273-4c63-446d-8aec-866cb2e465f8" providerId="ADAL" clId="{E8A94EE4-6522-43E6-A8D1-17E2055FC8AE}" dt="2024-11-05T10:04:24.227" v="260" actId="2696"/>
        <pc:sldMkLst>
          <pc:docMk/>
          <pc:sldMk cId="79153827" sldId="689"/>
        </pc:sldMkLst>
      </pc:sldChg>
      <pc:sldChg chg="addSp delSp modSp mod">
        <pc:chgData name="Schwander Nathalie (HKBB)" userId="1ddde273-4c63-446d-8aec-866cb2e465f8" providerId="ADAL" clId="{E8A94EE4-6522-43E6-A8D1-17E2055FC8AE}" dt="2024-11-01T11:01:32.811" v="248" actId="1076"/>
        <pc:sldMkLst>
          <pc:docMk/>
          <pc:sldMk cId="4165682228" sldId="2134804374"/>
        </pc:sldMkLst>
      </pc:sldChg>
      <pc:sldChg chg="modSp mod modShow">
        <pc:chgData name="Schwander Nathalie (HKBB)" userId="1ddde273-4c63-446d-8aec-866cb2e465f8" providerId="ADAL" clId="{E8A94EE4-6522-43E6-A8D1-17E2055FC8AE}" dt="2024-11-05T14:20:30.357" v="262" actId="14100"/>
        <pc:sldMkLst>
          <pc:docMk/>
          <pc:sldMk cId="3749052628" sldId="2134804375"/>
        </pc:sldMkLst>
      </pc:sldChg>
      <pc:sldChg chg="add del">
        <pc:chgData name="Schwander Nathalie (HKBB)" userId="1ddde273-4c63-446d-8aec-866cb2e465f8" providerId="ADAL" clId="{E8A94EE4-6522-43E6-A8D1-17E2055FC8AE}" dt="2024-11-12T07:48:26.955" v="264"/>
        <pc:sldMkLst>
          <pc:docMk/>
          <pc:sldMk cId="1267074667" sldId="2134804377"/>
        </pc:sldMkLst>
      </pc:sldChg>
    </pc:docChg>
  </pc:docChgLst>
  <pc:docChgLst>
    <pc:chgData name="Schwander Nathalie (HKBB)" userId="1ddde273-4c63-446d-8aec-866cb2e465f8" providerId="ADAL" clId="{38AEA515-5DDE-4A17-9BFD-C8EBD6359853}"/>
    <pc:docChg chg="modSld">
      <pc:chgData name="Schwander Nathalie (HKBB)" userId="1ddde273-4c63-446d-8aec-866cb2e465f8" providerId="ADAL" clId="{38AEA515-5DDE-4A17-9BFD-C8EBD6359853}" dt="2024-10-14T14:10:08.122" v="52" actId="20577"/>
      <pc:docMkLst>
        <pc:docMk/>
      </pc:docMkLst>
      <pc:sldChg chg="modSp mod">
        <pc:chgData name="Schwander Nathalie (HKBB)" userId="1ddde273-4c63-446d-8aec-866cb2e465f8" providerId="ADAL" clId="{38AEA515-5DDE-4A17-9BFD-C8EBD6359853}" dt="2024-10-14T14:10:08.122" v="52" actId="20577"/>
        <pc:sldMkLst>
          <pc:docMk/>
          <pc:sldMk cId="3800843079" sldId="558"/>
        </pc:sldMkLst>
      </pc:sldChg>
    </pc:docChg>
  </pc:docChgLst>
  <pc:docChgLst>
    <pc:chgData name="Buchbauer Raphael (HKBB)" userId="b9131bc2-c6e7-47e8-9ca9-4902240473c5" providerId="ADAL" clId="{C704ED00-98C3-4AAA-82DC-11069D2B4914}"/>
    <pc:docChg chg="addSld modSld">
      <pc:chgData name="Buchbauer Raphael (HKBB)" userId="b9131bc2-c6e7-47e8-9ca9-4902240473c5" providerId="ADAL" clId="{C704ED00-98C3-4AAA-82DC-11069D2B4914}" dt="2024-10-15T13:21:39.808" v="0"/>
      <pc:docMkLst>
        <pc:docMk/>
      </pc:docMkLst>
      <pc:sldChg chg="add">
        <pc:chgData name="Buchbauer Raphael (HKBB)" userId="b9131bc2-c6e7-47e8-9ca9-4902240473c5" providerId="ADAL" clId="{C704ED00-98C3-4AAA-82DC-11069D2B4914}" dt="2024-10-15T13:21:39.808" v="0"/>
        <pc:sldMkLst>
          <pc:docMk/>
          <pc:sldMk cId="3749052628" sldId="2134804375"/>
        </pc:sldMkLst>
      </pc:sldChg>
    </pc:docChg>
  </pc:docChgLst>
  <pc:docChgLst>
    <pc:chgData name="Schwander Nathalie (HKBB)" userId="1ddde273-4c63-446d-8aec-866cb2e465f8" providerId="ADAL" clId="{9295550E-800C-4A8B-BE01-1876DBD355F2}"/>
    <pc:docChg chg="undo custSel addSld delSld modSld sldOrd modMainMaster">
      <pc:chgData name="Schwander Nathalie (HKBB)" userId="1ddde273-4c63-446d-8aec-866cb2e465f8" providerId="ADAL" clId="{9295550E-800C-4A8B-BE01-1876DBD355F2}" dt="2024-05-02T13:51:02.985" v="370" actId="6549"/>
      <pc:docMkLst>
        <pc:docMk/>
      </pc:docMkLst>
      <pc:sldChg chg="add">
        <pc:chgData name="Schwander Nathalie (HKBB)" userId="1ddde273-4c63-446d-8aec-866cb2e465f8" providerId="ADAL" clId="{9295550E-800C-4A8B-BE01-1876DBD355F2}" dt="2024-05-02T09:56:54.513" v="286"/>
        <pc:sldMkLst>
          <pc:docMk/>
          <pc:sldMk cId="0" sldId="256"/>
        </pc:sldMkLst>
      </pc:sldChg>
      <pc:sldChg chg="add del">
        <pc:chgData name="Schwander Nathalie (HKBB)" userId="1ddde273-4c63-446d-8aec-866cb2e465f8" providerId="ADAL" clId="{9295550E-800C-4A8B-BE01-1876DBD355F2}" dt="2024-05-02T09:50:07.282" v="127" actId="2696"/>
        <pc:sldMkLst>
          <pc:docMk/>
          <pc:sldMk cId="2349147396" sldId="262"/>
        </pc:sldMkLst>
      </pc:sldChg>
      <pc:sldChg chg="add del">
        <pc:chgData name="Schwander Nathalie (HKBB)" userId="1ddde273-4c63-446d-8aec-866cb2e465f8" providerId="ADAL" clId="{9295550E-800C-4A8B-BE01-1876DBD355F2}" dt="2024-05-02T09:49:55.943" v="126" actId="2696"/>
        <pc:sldMkLst>
          <pc:docMk/>
          <pc:sldMk cId="65065524" sldId="386"/>
        </pc:sldMkLst>
      </pc:sldChg>
      <pc:sldChg chg="addSp delSp modSp add mod">
        <pc:chgData name="Schwander Nathalie (HKBB)" userId="1ddde273-4c63-446d-8aec-866cb2e465f8" providerId="ADAL" clId="{9295550E-800C-4A8B-BE01-1876DBD355F2}" dt="2024-05-02T10:01:49.540" v="315" actId="14100"/>
        <pc:sldMkLst>
          <pc:docMk/>
          <pc:sldMk cId="350616736" sldId="545"/>
        </pc:sldMkLst>
      </pc:sldChg>
      <pc:sldChg chg="del">
        <pc:chgData name="Schwander Nathalie (HKBB)" userId="1ddde273-4c63-446d-8aec-866cb2e465f8" providerId="ADAL" clId="{9295550E-800C-4A8B-BE01-1876DBD355F2}" dt="2024-05-02T09:50:23.717" v="129" actId="2696"/>
        <pc:sldMkLst>
          <pc:docMk/>
          <pc:sldMk cId="2213082520" sldId="550"/>
        </pc:sldMkLst>
      </pc:sldChg>
      <pc:sldChg chg="del">
        <pc:chgData name="Schwander Nathalie (HKBB)" userId="1ddde273-4c63-446d-8aec-866cb2e465f8" providerId="ADAL" clId="{9295550E-800C-4A8B-BE01-1876DBD355F2}" dt="2024-05-02T09:52:34.558" v="183" actId="2696"/>
        <pc:sldMkLst>
          <pc:docMk/>
          <pc:sldMk cId="4082483666" sldId="551"/>
        </pc:sldMkLst>
      </pc:sldChg>
      <pc:sldChg chg="modSp mod">
        <pc:chgData name="Schwander Nathalie (HKBB)" userId="1ddde273-4c63-446d-8aec-866cb2e465f8" providerId="ADAL" clId="{9295550E-800C-4A8B-BE01-1876DBD355F2}" dt="2024-05-02T13:51:02.985" v="370" actId="6549"/>
        <pc:sldMkLst>
          <pc:docMk/>
          <pc:sldMk cId="453062407" sldId="555"/>
        </pc:sldMkLst>
      </pc:sldChg>
      <pc:sldChg chg="del">
        <pc:chgData name="Schwander Nathalie (HKBB)" userId="1ddde273-4c63-446d-8aec-866cb2e465f8" providerId="ADAL" clId="{9295550E-800C-4A8B-BE01-1876DBD355F2}" dt="2024-05-02T09:49:18.913" v="121" actId="2696"/>
        <pc:sldMkLst>
          <pc:docMk/>
          <pc:sldMk cId="4046067636" sldId="557"/>
        </pc:sldMkLst>
      </pc:sldChg>
      <pc:sldChg chg="modSp mod">
        <pc:chgData name="Schwander Nathalie (HKBB)" userId="1ddde273-4c63-446d-8aec-866cb2e465f8" providerId="ADAL" clId="{9295550E-800C-4A8B-BE01-1876DBD355F2}" dt="2024-05-02T09:53:09.008" v="188" actId="6549"/>
        <pc:sldMkLst>
          <pc:docMk/>
          <pc:sldMk cId="3800843079" sldId="558"/>
        </pc:sldMkLst>
      </pc:sldChg>
      <pc:sldChg chg="modSp mod">
        <pc:chgData name="Schwander Nathalie (HKBB)" userId="1ddde273-4c63-446d-8aec-866cb2e465f8" providerId="ADAL" clId="{9295550E-800C-4A8B-BE01-1876DBD355F2}" dt="2024-05-02T09:47:53.334" v="111" actId="20577"/>
        <pc:sldMkLst>
          <pc:docMk/>
          <pc:sldMk cId="2996992431" sldId="675"/>
        </pc:sldMkLst>
      </pc:sldChg>
      <pc:sldChg chg="del">
        <pc:chgData name="Schwander Nathalie (HKBB)" userId="1ddde273-4c63-446d-8aec-866cb2e465f8" providerId="ADAL" clId="{9295550E-800C-4A8B-BE01-1876DBD355F2}" dt="2024-05-02T09:49:29.085" v="122" actId="2696"/>
        <pc:sldMkLst>
          <pc:docMk/>
          <pc:sldMk cId="3766718936" sldId="676"/>
        </pc:sldMkLst>
      </pc:sldChg>
      <pc:sldChg chg="del">
        <pc:chgData name="Schwander Nathalie (HKBB)" userId="1ddde273-4c63-446d-8aec-866cb2e465f8" providerId="ADAL" clId="{9295550E-800C-4A8B-BE01-1876DBD355F2}" dt="2024-05-02T09:52:44.916" v="184" actId="2696"/>
        <pc:sldMkLst>
          <pc:docMk/>
          <pc:sldMk cId="238858279" sldId="679"/>
        </pc:sldMkLst>
      </pc:sldChg>
      <pc:sldChg chg="del">
        <pc:chgData name="Schwander Nathalie (HKBB)" userId="1ddde273-4c63-446d-8aec-866cb2e465f8" providerId="ADAL" clId="{9295550E-800C-4A8B-BE01-1876DBD355F2}" dt="2024-05-02T09:50:14.427" v="128" actId="2696"/>
        <pc:sldMkLst>
          <pc:docMk/>
          <pc:sldMk cId="736456262" sldId="682"/>
        </pc:sldMkLst>
      </pc:sldChg>
      <pc:sldChg chg="del">
        <pc:chgData name="Schwander Nathalie (HKBB)" userId="1ddde273-4c63-446d-8aec-866cb2e465f8" providerId="ADAL" clId="{9295550E-800C-4A8B-BE01-1876DBD355F2}" dt="2024-05-02T09:52:50.922" v="185" actId="2696"/>
        <pc:sldMkLst>
          <pc:docMk/>
          <pc:sldMk cId="1596061055" sldId="683"/>
        </pc:sldMkLst>
      </pc:sldChg>
      <pc:sldChg chg="modSp new mod">
        <pc:chgData name="Schwander Nathalie (HKBB)" userId="1ddde273-4c63-446d-8aec-866cb2e465f8" providerId="ADAL" clId="{9295550E-800C-4A8B-BE01-1876DBD355F2}" dt="2024-05-02T09:51:10.635" v="182" actId="20577"/>
        <pc:sldMkLst>
          <pc:docMk/>
          <pc:sldMk cId="573609149" sldId="684"/>
        </pc:sldMkLst>
      </pc:sldChg>
      <pc:sldChg chg="modSp new mod ord">
        <pc:chgData name="Schwander Nathalie (HKBB)" userId="1ddde273-4c63-446d-8aec-866cb2e465f8" providerId="ADAL" clId="{9295550E-800C-4A8B-BE01-1876DBD355F2}" dt="2024-05-02T09:54:15.143" v="244" actId="20577"/>
        <pc:sldMkLst>
          <pc:docMk/>
          <pc:sldMk cId="786413827" sldId="685"/>
        </pc:sldMkLst>
      </pc:sldChg>
      <pc:sldChg chg="modSp new mod">
        <pc:chgData name="Schwander Nathalie (HKBB)" userId="1ddde273-4c63-446d-8aec-866cb2e465f8" providerId="ADAL" clId="{9295550E-800C-4A8B-BE01-1876DBD355F2}" dt="2024-05-02T09:54:46.761" v="285" actId="20577"/>
        <pc:sldMkLst>
          <pc:docMk/>
          <pc:sldMk cId="1035268640" sldId="686"/>
        </pc:sldMkLst>
      </pc:sldChg>
      <pc:sldChg chg="modSp new mod">
        <pc:chgData name="Schwander Nathalie (HKBB)" userId="1ddde273-4c63-446d-8aec-866cb2e465f8" providerId="ADAL" clId="{9295550E-800C-4A8B-BE01-1876DBD355F2}" dt="2024-05-02T13:50:42.581" v="350" actId="20577"/>
        <pc:sldMkLst>
          <pc:docMk/>
          <pc:sldMk cId="2461901869" sldId="687"/>
        </pc:sldMkLst>
      </pc:sldChg>
      <pc:sldMasterChg chg="modSp mod delSldLayout">
        <pc:chgData name="Schwander Nathalie (HKBB)" userId="1ddde273-4c63-446d-8aec-866cb2e465f8" providerId="ADAL" clId="{9295550E-800C-4A8B-BE01-1876DBD355F2}" dt="2024-05-02T09:50:14.427" v="128" actId="2696"/>
        <pc:sldMasterMkLst>
          <pc:docMk/>
          <pc:sldMasterMk cId="1759221374" sldId="2147483670"/>
        </pc:sldMasterMkLst>
        <pc:sldLayoutChg chg="del">
          <pc:chgData name="Schwander Nathalie (HKBB)" userId="1ddde273-4c63-446d-8aec-866cb2e465f8" providerId="ADAL" clId="{9295550E-800C-4A8B-BE01-1876DBD355F2}" dt="2024-05-02T09:50:14.427" v="128" actId="2696"/>
          <pc:sldLayoutMkLst>
            <pc:docMk/>
            <pc:sldMasterMk cId="1759221374" sldId="2147483670"/>
            <pc:sldLayoutMk cId="116454999" sldId="2147483730"/>
          </pc:sldLayoutMkLst>
        </pc:sldLayoutChg>
      </pc:sldMasterChg>
    </pc:docChg>
  </pc:docChgLst>
  <pc:docChgLst>
    <pc:chgData name="Schwander Nathalie (HKBB)" userId="1ddde273-4c63-446d-8aec-866cb2e465f8" providerId="ADAL" clId="{56E386CA-55CA-482D-8771-143C0A728DDE}"/>
    <pc:docChg chg="undo custSel modSld modMainMaster">
      <pc:chgData name="Schwander Nathalie (HKBB)" userId="1ddde273-4c63-446d-8aec-866cb2e465f8" providerId="ADAL" clId="{56E386CA-55CA-482D-8771-143C0A728DDE}" dt="2025-01-29T10:12:46.865" v="240" actId="20577"/>
      <pc:docMkLst>
        <pc:docMk/>
      </pc:docMkLst>
      <pc:sldChg chg="modSp mod">
        <pc:chgData name="Schwander Nathalie (HKBB)" userId="1ddde273-4c63-446d-8aec-866cb2e465f8" providerId="ADAL" clId="{56E386CA-55CA-482D-8771-143C0A728DDE}" dt="2025-01-29T10:09:33.688" v="86" actId="20577"/>
        <pc:sldMkLst>
          <pc:docMk/>
          <pc:sldMk cId="453062407" sldId="555"/>
        </pc:sldMkLst>
      </pc:sldChg>
      <pc:sldChg chg="modSp mod">
        <pc:chgData name="Schwander Nathalie (HKBB)" userId="1ddde273-4c63-446d-8aec-866cb2e465f8" providerId="ADAL" clId="{56E386CA-55CA-482D-8771-143C0A728DDE}" dt="2025-01-29T10:11:44.696" v="189" actId="20577"/>
        <pc:sldMkLst>
          <pc:docMk/>
          <pc:sldMk cId="3800843079" sldId="558"/>
        </pc:sldMkLst>
        <pc:spChg chg="mod">
          <ac:chgData name="Schwander Nathalie (HKBB)" userId="1ddde273-4c63-446d-8aec-866cb2e465f8" providerId="ADAL" clId="{56E386CA-55CA-482D-8771-143C0A728DDE}" dt="2025-01-29T10:11:44.696" v="189" actId="20577"/>
          <ac:spMkLst>
            <pc:docMk/>
            <pc:sldMk cId="3800843079" sldId="558"/>
            <ac:spMk id="3" creationId="{00000000-0000-0000-0000-000000000000}"/>
          </ac:spMkLst>
        </pc:spChg>
        <pc:spChg chg="mod">
          <ac:chgData name="Schwander Nathalie (HKBB)" userId="1ddde273-4c63-446d-8aec-866cb2e465f8" providerId="ADAL" clId="{56E386CA-55CA-482D-8771-143C0A728DDE}" dt="2025-01-29T10:09:49.115" v="108" actId="20577"/>
          <ac:spMkLst>
            <pc:docMk/>
            <pc:sldMk cId="3800843079" sldId="558"/>
            <ac:spMk id="4" creationId="{00000000-0000-0000-0000-000000000000}"/>
          </ac:spMkLst>
        </pc:spChg>
      </pc:sldChg>
      <pc:sldChg chg="modSp mod">
        <pc:chgData name="Schwander Nathalie (HKBB)" userId="1ddde273-4c63-446d-8aec-866cb2e465f8" providerId="ADAL" clId="{56E386CA-55CA-482D-8771-143C0A728DDE}" dt="2025-01-29T10:09:17.111" v="85" actId="20577"/>
        <pc:sldMkLst>
          <pc:docMk/>
          <pc:sldMk cId="2996992431" sldId="675"/>
        </pc:sldMkLst>
        <pc:spChg chg="mod">
          <ac:chgData name="Schwander Nathalie (HKBB)" userId="1ddde273-4c63-446d-8aec-866cb2e465f8" providerId="ADAL" clId="{56E386CA-55CA-482D-8771-143C0A728DDE}" dt="2025-01-29T10:07:12.880" v="24" actId="20577"/>
          <ac:spMkLst>
            <pc:docMk/>
            <pc:sldMk cId="2996992431" sldId="675"/>
            <ac:spMk id="2" creationId="{066FE281-510A-134D-B0DA-B139B483A9CE}"/>
          </ac:spMkLst>
        </pc:spChg>
        <pc:spChg chg="mod">
          <ac:chgData name="Schwander Nathalie (HKBB)" userId="1ddde273-4c63-446d-8aec-866cb2e465f8" providerId="ADAL" clId="{56E386CA-55CA-482D-8771-143C0A728DDE}" dt="2025-01-29T10:07:33.789" v="46" actId="20577"/>
          <ac:spMkLst>
            <pc:docMk/>
            <pc:sldMk cId="2996992431" sldId="675"/>
            <ac:spMk id="4" creationId="{39BF49FF-D6E9-9345-A78B-0A6F5FCB6580}"/>
          </ac:spMkLst>
        </pc:spChg>
        <pc:spChg chg="mod">
          <ac:chgData name="Schwander Nathalie (HKBB)" userId="1ddde273-4c63-446d-8aec-866cb2e465f8" providerId="ADAL" clId="{56E386CA-55CA-482D-8771-143C0A728DDE}" dt="2025-01-29T10:09:17.111" v="85" actId="20577"/>
          <ac:spMkLst>
            <pc:docMk/>
            <pc:sldMk cId="2996992431" sldId="675"/>
            <ac:spMk id="5" creationId="{E92D729A-431E-EC4E-89C9-2936C08BACE0}"/>
          </ac:spMkLst>
        </pc:spChg>
        <pc:spChg chg="mod">
          <ac:chgData name="Schwander Nathalie (HKBB)" userId="1ddde273-4c63-446d-8aec-866cb2e465f8" providerId="ADAL" clId="{56E386CA-55CA-482D-8771-143C0A728DDE}" dt="2025-01-29T10:09:12.455" v="83" actId="20577"/>
          <ac:spMkLst>
            <pc:docMk/>
            <pc:sldMk cId="2996992431" sldId="675"/>
            <ac:spMk id="6" creationId="{9539B0D8-58DD-40F8-5803-759B1F9685A2}"/>
          </ac:spMkLst>
        </pc:spChg>
      </pc:sldChg>
      <pc:sldMasterChg chg="modSp mod modSldLayout">
        <pc:chgData name="Schwander Nathalie (HKBB)" userId="1ddde273-4c63-446d-8aec-866cb2e465f8" providerId="ADAL" clId="{56E386CA-55CA-482D-8771-143C0A728DDE}" dt="2025-01-29T10:12:46.865" v="240" actId="20577"/>
        <pc:sldMasterMkLst>
          <pc:docMk/>
          <pc:sldMasterMk cId="1759221374" sldId="2147483670"/>
        </pc:sldMasterMkLst>
        <pc:spChg chg="mod">
          <ac:chgData name="Schwander Nathalie (HKBB)" userId="1ddde273-4c63-446d-8aec-866cb2e465f8" providerId="ADAL" clId="{56E386CA-55CA-482D-8771-143C0A728DDE}" dt="2025-01-29T10:12:28.934" v="217" actId="20577"/>
          <ac:spMkLst>
            <pc:docMk/>
            <pc:sldMasterMk cId="1759221374" sldId="2147483670"/>
            <ac:spMk id="23" creationId="{452A3C52-BEFF-9B42-B2D9-CB85F264AE15}"/>
          </ac:spMkLst>
        </pc:spChg>
        <pc:spChg chg="mod">
          <ac:chgData name="Schwander Nathalie (HKBB)" userId="1ddde273-4c63-446d-8aec-866cb2e465f8" providerId="ADAL" clId="{56E386CA-55CA-482D-8771-143C0A728DDE}" dt="2025-01-29T10:12:23.968" v="215" actId="20577"/>
          <ac:spMkLst>
            <pc:docMk/>
            <pc:sldMasterMk cId="1759221374" sldId="2147483670"/>
            <ac:spMk id="28" creationId="{5C01355E-1CCD-A145-83C1-5C4BFF1488FB}"/>
          </ac:spMkLst>
        </pc:spChg>
        <pc:sldLayoutChg chg="modSp mod">
          <pc:chgData name="Schwander Nathalie (HKBB)" userId="1ddde273-4c63-446d-8aec-866cb2e465f8" providerId="ADAL" clId="{56E386CA-55CA-482D-8771-143C0A728DDE}" dt="2025-01-29T10:12:46.865" v="240" actId="20577"/>
          <pc:sldLayoutMkLst>
            <pc:docMk/>
            <pc:sldMasterMk cId="1759221374" sldId="2147483670"/>
            <pc:sldLayoutMk cId="2229963026" sldId="2147483681"/>
          </pc:sldLayoutMkLst>
          <pc:spChg chg="mod">
            <ac:chgData name="Schwander Nathalie (HKBB)" userId="1ddde273-4c63-446d-8aec-866cb2e465f8" providerId="ADAL" clId="{56E386CA-55CA-482D-8771-143C0A728DDE}" dt="2025-01-29T10:12:46.865" v="240" actId="20577"/>
            <ac:spMkLst>
              <pc:docMk/>
              <pc:sldMasterMk cId="1759221374" sldId="2147483670"/>
              <pc:sldLayoutMk cId="2229963026" sldId="2147483681"/>
              <ac:spMk id="5" creationId="{2AE6E335-C5F4-484B-B772-36E477C6C423}"/>
            </ac:spMkLst>
          </pc:spChg>
          <pc:spChg chg="mod">
            <ac:chgData name="Schwander Nathalie (HKBB)" userId="1ddde273-4c63-446d-8aec-866cb2e465f8" providerId="ADAL" clId="{56E386CA-55CA-482D-8771-143C0A728DDE}" dt="2025-01-29T10:12:43.580" v="236" actId="20577"/>
            <ac:spMkLst>
              <pc:docMk/>
              <pc:sldMasterMk cId="1759221374" sldId="2147483670"/>
              <pc:sldLayoutMk cId="2229963026" sldId="2147483681"/>
              <ac:spMk id="6" creationId="{1D8A2388-9E06-C24E-A2F2-8578F7B81CEE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780511313448922"/>
          <c:y val="0.16558536476385616"/>
          <c:w val="0.18692800835523063"/>
          <c:h val="0.575350918620462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3E87AB_59B3BAE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9392E58-B0FA-44B5-9C02-DD2F25F760AE}" authorId="{6C1E0627-3418-022E-12D3-7FF87387D539}" created="2024-10-14T13:16:40.603">
    <pc:sldMkLst xmlns:pc="http://schemas.microsoft.com/office/powerpoint/2013/main/command">
      <pc:docMk/>
      <pc:sldMk cId="2314239642" sldId="680"/>
    </pc:sldMkLst>
    <p188:txBody>
      <a:bodyPr/>
      <a:lstStyle/>
      <a:p>
        <a:r>
          <a:rPr lang="de-CH"/>
          <a:t>wurde im Mai schon aufgenommen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6AA3114B-0CDD-4419-A4DE-E0C29A2AE1A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FC25048-78D1-4821-8E2B-7A77CCA12F8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92379866-1A90-475E-9E9D-99E4511C212F}" type="datetime1">
              <a:rPr lang="de-DE" smtClean="0"/>
              <a:t>24.03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1924695-047D-4CC8-8801-1AA37457E73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0F00293-63F6-438D-A9A8-024975FD55F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777607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DD56CFAD-C154-4C9C-AD01-665A5055065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787910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2F2440-6078-4169-8F4C-3E08C4E6124F}" type="datetime1">
              <a:rPr lang="de-DE" smtClean="0"/>
              <a:pPr/>
              <a:t>24.03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77195"/>
            <a:ext cx="533527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de-DE" noProof="0"/>
              <a:t>Textmasterformat durch Klicken bearbeiten</a:t>
            </a:r>
          </a:p>
          <a:p>
            <a:pPr lvl="1" rtl="0"/>
            <a:r>
              <a:rPr lang="de-DE" noProof="0"/>
              <a:t>Zweite Ebene</a:t>
            </a:r>
          </a:p>
          <a:p>
            <a:pPr lvl="2" rtl="0"/>
            <a:r>
              <a:rPr lang="de-DE" noProof="0"/>
              <a:t>Dritte Ebene</a:t>
            </a:r>
          </a:p>
          <a:p>
            <a:pPr lvl="3" rtl="0"/>
            <a:r>
              <a:rPr lang="de-DE" noProof="0"/>
              <a:t>Vierte Ebene</a:t>
            </a:r>
          </a:p>
          <a:p>
            <a:pPr lvl="4" rtl="0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5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F5B62BC0-7DC4-4569-951D-2BB9475345C6}" type="slidenum">
              <a:rPr lang="de-DE" noProof="0" smtClean="0"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3446415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7FC322-73A5-0832-F84C-336B269A13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BA48E7C5-0AD2-0895-5E11-6810653A2A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4E9F648-368B-CF3A-48E2-663D7F23C64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52682E-E776-67B8-D2A9-FEC3182C30D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24F1BF-436C-D543-92A6-96E82F8C559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79187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274574-E033-4EDD-48E1-A707AED3F6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37BAA23-B898-8564-BDC3-33E8903D908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2B1ED6B8-919A-19BD-46CA-357556BB95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4C9164-CE03-FD45-B78B-5EC1A9EBC07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24F1BF-436C-D543-92A6-96E82F8C559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3432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24F1BF-436C-D543-92A6-96E82F8C559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7057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70EC9C-7F07-4ECD-AD09-0088CF1DFBD9}" type="slidenum">
              <a:rPr lang="de-CH" smtClean="0"/>
              <a:pPr/>
              <a:t>6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andelskammer beider Basel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56A0031-8A61-41A7-A959-AF12C5FE2FD3}" type="datetime1">
              <a:rPr lang="de-CH" smtClean="0"/>
              <a:t>24.03.202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86641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F5B62BC0-7DC4-4569-951D-2BB9475345C6}" type="slidenum">
              <a:rPr lang="de-DE" noProof="0" smtClean="0"/>
              <a:t>10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06286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C71CCD-6177-D8C6-EAD5-9210D40D59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79E3DDB-34DE-E744-485A-BEB75C2EC0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74F38B6B-431E-A60C-1C57-DBDDE189E0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F1EB4D0-B4DE-F932-FFDB-1FE2C4F7F30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24F1BF-436C-D543-92A6-96E82F8C559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DB1BF93-DB02-377C-E94D-57EBAD5BFF92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264080-BDD4-4172-8083-E73EF9355EA4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3.202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69782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hemeOverride" Target="../theme/themeOverride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hemeOverride" Target="../theme/themeOverride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2" Type="http://schemas.microsoft.com/office/2007/relationships/media" Target="../media/media1.mp4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0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hemeOverride" Target="../theme/themeOverride8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hemeOverride" Target="../theme/themeOverride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hemeOverride" Target="../theme/themeOverride1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11.xml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hemeOverride" Target="../theme/themeOverride12.xml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hemeOverride" Target="../theme/themeOverride13.xml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1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hemeOverride" Target="../theme/themeOverride15.xml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hemeOverride" Target="../theme/themeOverride16.xml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hemeOverride" Target="../theme/themeOverride17.xml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hemeOverride" Target="../theme/themeOverride18.xml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themeOverride" Target="../theme/themeOverride1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themeOverride" Target="../theme/themeOverride2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hemeOverride" Target="../theme/themeOverride2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hemeOverride" Target="../theme/themeOverride22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hemeOverride" Target="../theme/themeOverride23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hemeOverride" Target="../theme/themeOverride24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2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themeOverride" Target="../theme/themeOverride2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hemeOverride" Target="../theme/themeOverride27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hemeOverride" Target="../theme/themeOverride2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themeOverride" Target="../theme/themeOverride29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hemeOverride" Target="../theme/themeOverride30.xml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hemeOverride" Target="../theme/themeOverride31.xml"/><Relationship Id="rId4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themeOverride" Target="../theme/themeOverride32.xml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themeOverride" Target="../theme/themeOverride3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B2715BF7-163F-7A4C-9EAE-FF02E358A3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936" y="0"/>
            <a:ext cx="12278908" cy="6906886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3BAB6FEB-8403-7F4C-B933-1DDA9A6147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2263" y="5466028"/>
            <a:ext cx="8093462" cy="554762"/>
          </a:xfrm>
        </p:spPr>
        <p:txBody>
          <a:bodyPr anchor="b">
            <a:noAutofit/>
          </a:bodyPr>
          <a:lstStyle>
            <a:lvl1pPr marL="0" indent="0" algn="l">
              <a:spcAft>
                <a:spcPts val="500"/>
              </a:spcAft>
              <a:buNone/>
              <a:defRPr sz="1400" b="1" i="0" cap="none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Dr. Sebastian Deininger, Leiter Verkehr, Raumplanung, Energie &amp; Umwelt</a:t>
            </a:r>
          </a:p>
        </p:txBody>
      </p:sp>
      <p:pic>
        <p:nvPicPr>
          <p:cNvPr id="11" name="Grafik 10" descr="Ein Bild, das Zeichnung, Teller enthält.&#10;&#10;Automatisch generierte Beschreibung">
            <a:extLst>
              <a:ext uri="{FF2B5EF4-FFF2-40B4-BE49-F238E27FC236}">
                <a16:creationId xmlns:a16="http://schemas.microsoft.com/office/drawing/2014/main" id="{E502BC05-DD7A-C14C-B491-B9898CCEB3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366" y="365854"/>
            <a:ext cx="2988642" cy="416949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8B8AF142-9FF8-7A40-91DF-69D06797146B}"/>
              </a:ext>
            </a:extLst>
          </p:cNvPr>
          <p:cNvSpPr txBox="1"/>
          <p:nvPr userDrawn="1"/>
        </p:nvSpPr>
        <p:spPr>
          <a:xfrm>
            <a:off x="879475" y="5263763"/>
            <a:ext cx="5216525" cy="405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10" name="Inhaltsplatzhalter 12">
            <a:extLst>
              <a:ext uri="{FF2B5EF4-FFF2-40B4-BE49-F238E27FC236}">
                <a16:creationId xmlns:a16="http://schemas.microsoft.com/office/drawing/2014/main" id="{CE22691B-2BA9-A642-8C73-28D3C2CF6A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79207" y="4515920"/>
            <a:ext cx="8093462" cy="999624"/>
          </a:xfrm>
        </p:spPr>
        <p:txBody>
          <a:bodyPr>
            <a:noAutofit/>
          </a:bodyPr>
          <a:lstStyle>
            <a:lvl1pPr>
              <a:spcAft>
                <a:spcPts val="3000"/>
              </a:spcAft>
              <a:defRPr sz="3000" b="1" i="0" cap="all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3pPr marL="355600" indent="-344488">
              <a:buFontTx/>
              <a:buBlip>
                <a:blip r:embed="rId4"/>
              </a:buBlip>
              <a:tabLst/>
              <a:defRPr/>
            </a:lvl3pPr>
            <a:lvl4pPr>
              <a:spcAft>
                <a:spcPts val="800"/>
              </a:spcAft>
              <a:defRPr/>
            </a:lvl4pPr>
            <a:lvl5pPr marL="748800" marR="0" indent="-355600" algn="l" defTabSz="914400" rtl="0" eaLnBrk="1" fontAlgn="auto" latinLnBrk="0" hangingPunct="1">
              <a:lnSpc>
                <a:spcPts val="188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Blip>
                <a:blip r:embed="rId4"/>
              </a:buBlip>
              <a:tabLst/>
              <a:defRPr/>
            </a:lvl5pPr>
          </a:lstStyle>
          <a:p>
            <a:pPr lvl="0"/>
            <a:r>
              <a:rPr lang="de-DE"/>
              <a:t>Hier kann ein Untertitel </a:t>
            </a:r>
            <a:br>
              <a:rPr lang="de-DE"/>
            </a:br>
            <a:r>
              <a:rPr lang="de-DE"/>
              <a:t>stehen</a:t>
            </a:r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DBB01A0E-1376-2B4D-85DA-B4B4D75D3A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9475" y="6051078"/>
            <a:ext cx="7854952" cy="554761"/>
          </a:xfrm>
        </p:spPr>
        <p:txBody>
          <a:bodyPr>
            <a:normAutofit/>
          </a:bodyPr>
          <a:lstStyle>
            <a:lvl4pPr marL="0" marR="0" indent="0" algn="l" defTabSz="914400" rtl="0" eaLnBrk="1" fontAlgn="auto" latinLnBrk="0" hangingPunct="1">
              <a:lnSpc>
                <a:spcPts val="1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aseline="0"/>
            </a:lvl4pPr>
          </a:lstStyle>
          <a:p>
            <a:pPr lvl="3"/>
            <a:r>
              <a:rPr lang="de-DE"/>
              <a:t>30. August 2022</a:t>
            </a:r>
          </a:p>
          <a:p>
            <a:pPr lvl="3"/>
            <a:r>
              <a:rPr lang="de-DE"/>
              <a:t>Therwil, Garage Ruf</a:t>
            </a:r>
          </a:p>
          <a:p>
            <a:pPr lvl="3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51448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nbereich/Proje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9BEB9F2-44D2-9C46-A2EE-1922844A15B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4888" y="0"/>
            <a:ext cx="3567112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C0E8B2-8E7D-4443-8CCA-9320A3F93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CH"/>
              <a:t>Titel</a:t>
            </a:r>
            <a:endParaRPr lang="de-DE"/>
          </a:p>
        </p:txBody>
      </p:sp>
      <p:sp>
        <p:nvSpPr>
          <p:cNvPr id="8" name="Inhaltsplatzhalter 9">
            <a:extLst>
              <a:ext uri="{FF2B5EF4-FFF2-40B4-BE49-F238E27FC236}">
                <a16:creationId xmlns:a16="http://schemas.microsoft.com/office/drawing/2014/main" id="{394DC36C-467D-0C47-B939-AA90288E4D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85266" y="1865156"/>
            <a:ext cx="7236269" cy="4315836"/>
          </a:xfrm>
        </p:spPr>
        <p:txBody>
          <a:bodyPr>
            <a:noAutofit/>
          </a:bodyPr>
          <a:lstStyle>
            <a:lvl1pPr>
              <a:spcAft>
                <a:spcPts val="3000"/>
              </a:spcAft>
              <a:defRPr/>
            </a:lvl1pPr>
            <a:lvl2pPr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>
              <a:lnSpc>
                <a:spcPts val="2400"/>
              </a:lnSpc>
              <a:spcAft>
                <a:spcPts val="800"/>
              </a:spcAft>
              <a:buFontTx/>
              <a:buNone/>
              <a:tabLst/>
              <a:defRPr/>
            </a:lvl3pPr>
            <a:lvl4pPr>
              <a:spcAft>
                <a:spcPts val="800"/>
              </a:spcAft>
              <a:defRPr/>
            </a:lvl4pPr>
            <a:lvl5pPr marL="355600" indent="0">
              <a:spcAft>
                <a:spcPts val="600"/>
              </a:spcAft>
              <a:buFontTx/>
              <a:buNone/>
              <a:tabLst/>
              <a:defRPr/>
            </a:lvl5pPr>
          </a:lstStyle>
          <a:p>
            <a:pPr lvl="0"/>
            <a:r>
              <a:rPr lang="de-DE"/>
              <a:t>Lead</a:t>
            </a:r>
          </a:p>
          <a:p>
            <a:pPr lvl="1"/>
            <a:r>
              <a:rPr lang="de-DE"/>
              <a:t>Aufzählung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7704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Spielzeug enthält.&#10;&#10;Automatisch generierte Beschreibung">
            <a:extLst>
              <a:ext uri="{FF2B5EF4-FFF2-40B4-BE49-F238E27FC236}">
                <a16:creationId xmlns:a16="http://schemas.microsoft.com/office/drawing/2014/main" id="{EE06CE47-6ABC-3345-A7A4-CADC463E96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892"/>
            <a:ext cx="12192000" cy="6856215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E6E335-C5F4-484B-B772-36E477C6C423}"/>
              </a:ext>
            </a:extLst>
          </p:cNvPr>
          <p:cNvSpPr txBox="1">
            <a:spLocks/>
          </p:cNvSpPr>
          <p:nvPr userDrawn="1"/>
        </p:nvSpPr>
        <p:spPr>
          <a:xfrm>
            <a:off x="5031938" y="6493047"/>
            <a:ext cx="1095164" cy="1554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/>
              <a:t>25. März 2025</a:t>
            </a: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1D8A2388-9E06-C24E-A2F2-8578F7B81CEE}"/>
              </a:ext>
            </a:extLst>
          </p:cNvPr>
          <p:cNvSpPr txBox="1">
            <a:spLocks/>
          </p:cNvSpPr>
          <p:nvPr userDrawn="1"/>
        </p:nvSpPr>
        <p:spPr>
          <a:xfrm>
            <a:off x="1238251" y="6493047"/>
            <a:ext cx="3417462" cy="1554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Handelskammer beider Basel  |  </a:t>
            </a:r>
            <a:r>
              <a:rPr lang="de-DE" err="1"/>
              <a:t>Unternehmer!nnen-Treff</a:t>
            </a:r>
            <a:r>
              <a:rPr lang="de-DE"/>
              <a:t> KAMP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9D5811C-71C9-A741-BB74-56B24DC3BD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2261" y="2651096"/>
            <a:ext cx="6749270" cy="383049"/>
          </a:xfrm>
        </p:spPr>
        <p:txBody>
          <a:bodyPr/>
          <a:lstStyle/>
          <a:p>
            <a:pPr lvl="2"/>
            <a:r>
              <a:rPr lang="de-DE"/>
              <a:t>Dritte Ebene</a:t>
            </a:r>
          </a:p>
        </p:txBody>
      </p:sp>
      <p:pic>
        <p:nvPicPr>
          <p:cNvPr id="10" name="Grafik 9" descr="Ein Bild, das Messer enthält.&#10;&#10;Automatisch generierte Beschreibung">
            <a:extLst>
              <a:ext uri="{FF2B5EF4-FFF2-40B4-BE49-F238E27FC236}">
                <a16:creationId xmlns:a16="http://schemas.microsoft.com/office/drawing/2014/main" id="{61527449-FA96-224B-985D-BB993C2910D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68994" y="144058"/>
            <a:ext cx="3438236" cy="1230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9630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menbereich/Projektfolie_Stand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9BEB9F2-44D2-9C46-A2EE-1922844A15B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24888" y="0"/>
            <a:ext cx="3567112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C0E8B2-8E7D-4443-8CCA-9320A3F93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CH"/>
              <a:t>Titel</a:t>
            </a:r>
            <a:endParaRPr lang="de-DE"/>
          </a:p>
        </p:txBody>
      </p:sp>
      <p:sp>
        <p:nvSpPr>
          <p:cNvPr id="8" name="Inhaltsplatzhalter 9">
            <a:extLst>
              <a:ext uri="{FF2B5EF4-FFF2-40B4-BE49-F238E27FC236}">
                <a16:creationId xmlns:a16="http://schemas.microsoft.com/office/drawing/2014/main" id="{394DC36C-467D-0C47-B939-AA90288E4DF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85266" y="1865156"/>
            <a:ext cx="7236269" cy="4315836"/>
          </a:xfrm>
        </p:spPr>
        <p:txBody>
          <a:bodyPr>
            <a:noAutofit/>
          </a:bodyPr>
          <a:lstStyle>
            <a:lvl1pPr>
              <a:spcAft>
                <a:spcPts val="3000"/>
              </a:spcAft>
              <a:defRPr/>
            </a:lvl1pPr>
            <a:lvl2pPr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>
              <a:lnSpc>
                <a:spcPts val="2400"/>
              </a:lnSpc>
              <a:spcAft>
                <a:spcPts val="800"/>
              </a:spcAft>
              <a:buFontTx/>
              <a:buNone/>
              <a:tabLst/>
              <a:defRPr/>
            </a:lvl3pPr>
            <a:lvl4pPr>
              <a:spcAft>
                <a:spcPts val="800"/>
              </a:spcAft>
              <a:defRPr/>
            </a:lvl4pPr>
            <a:lvl5pPr marL="355600" indent="0">
              <a:spcAft>
                <a:spcPts val="600"/>
              </a:spcAft>
              <a:buFontTx/>
              <a:buNone/>
              <a:tabLst/>
              <a:defRPr/>
            </a:lvl5pPr>
          </a:lstStyle>
          <a:p>
            <a:pPr lvl="0"/>
            <a:r>
              <a:rPr lang="de-DE"/>
              <a:t>Lead</a:t>
            </a:r>
          </a:p>
          <a:p>
            <a:pPr lvl="1"/>
            <a:r>
              <a:rPr lang="de-DE"/>
              <a:t>Aufzählung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620805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B2715BF7-163F-7A4C-9EAE-FF02E358A3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936" y="0"/>
            <a:ext cx="12278908" cy="6906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049B49A-BC20-C548-ADE9-A39DD38460E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5162" y="1342456"/>
            <a:ext cx="8160563" cy="2947232"/>
          </a:xfrm>
        </p:spPr>
        <p:txBody>
          <a:bodyPr anchor="b" anchorCtr="0">
            <a:noAutofit/>
          </a:bodyPr>
          <a:lstStyle>
            <a:lvl1pPr algn="l">
              <a:defRPr sz="6000" b="1" i="0" cap="all" baseline="0">
                <a:solidFill>
                  <a:srgbClr val="E5352C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e-DE"/>
              <a:t>HIER STEHT DER TITEL DER PRÄSENTATIO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BAB6FEB-8403-7F4C-B933-1DDA9A6147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82263" y="5466028"/>
            <a:ext cx="8093462" cy="554762"/>
          </a:xfrm>
        </p:spPr>
        <p:txBody>
          <a:bodyPr anchor="b">
            <a:noAutofit/>
          </a:bodyPr>
          <a:lstStyle>
            <a:lvl1pPr marL="0" indent="0" algn="l">
              <a:spcAft>
                <a:spcPts val="500"/>
              </a:spcAft>
              <a:buNone/>
              <a:defRPr sz="1400" b="1" i="0" cap="none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Vorname Name, Funktion</a:t>
            </a:r>
          </a:p>
        </p:txBody>
      </p:sp>
      <p:pic>
        <p:nvPicPr>
          <p:cNvPr id="11" name="Grafik 10" descr="Ein Bild, das Zeichnung, Teller enthält.&#10;&#10;Automatisch generierte Beschreibung">
            <a:extLst>
              <a:ext uri="{FF2B5EF4-FFF2-40B4-BE49-F238E27FC236}">
                <a16:creationId xmlns:a16="http://schemas.microsoft.com/office/drawing/2014/main" id="{E502BC05-DD7A-C14C-B491-B9898CCEB3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366" y="365854"/>
            <a:ext cx="2988642" cy="416949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8B8AF142-9FF8-7A40-91DF-69D06797146B}"/>
              </a:ext>
            </a:extLst>
          </p:cNvPr>
          <p:cNvSpPr txBox="1"/>
          <p:nvPr userDrawn="1"/>
        </p:nvSpPr>
        <p:spPr>
          <a:xfrm>
            <a:off x="879475" y="5263763"/>
            <a:ext cx="5216525" cy="405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/>
          </a:p>
        </p:txBody>
      </p:sp>
      <p:sp>
        <p:nvSpPr>
          <p:cNvPr id="10" name="Inhaltsplatzhalter 12">
            <a:extLst>
              <a:ext uri="{FF2B5EF4-FFF2-40B4-BE49-F238E27FC236}">
                <a16:creationId xmlns:a16="http://schemas.microsoft.com/office/drawing/2014/main" id="{CE22691B-2BA9-A642-8C73-28D3C2CF6A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79207" y="4515920"/>
            <a:ext cx="8093462" cy="999624"/>
          </a:xfrm>
        </p:spPr>
        <p:txBody>
          <a:bodyPr>
            <a:noAutofit/>
          </a:bodyPr>
          <a:lstStyle>
            <a:lvl1pPr>
              <a:spcAft>
                <a:spcPts val="3000"/>
              </a:spcAft>
              <a:defRPr sz="3000" b="1" i="0" cap="all" baseline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3pPr marL="355600" indent="-344488">
              <a:buFontTx/>
              <a:buBlip>
                <a:blip r:embed="rId4"/>
              </a:buBlip>
              <a:tabLst/>
              <a:defRPr/>
            </a:lvl3pPr>
            <a:lvl4pPr>
              <a:spcAft>
                <a:spcPts val="800"/>
              </a:spcAft>
              <a:defRPr/>
            </a:lvl4pPr>
            <a:lvl5pPr marL="748800" marR="0" indent="-355600" algn="l" defTabSz="914400" rtl="0" eaLnBrk="1" fontAlgn="auto" latinLnBrk="0" hangingPunct="1">
              <a:lnSpc>
                <a:spcPts val="188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Blip>
                <a:blip r:embed="rId4"/>
              </a:buBlip>
              <a:tabLst/>
              <a:defRPr/>
            </a:lvl5pPr>
          </a:lstStyle>
          <a:p>
            <a:pPr lvl="0"/>
            <a:r>
              <a:rPr lang="de-DE"/>
              <a:t>Hier kann ein Untertitel </a:t>
            </a:r>
            <a:br>
              <a:rPr lang="de-DE"/>
            </a:br>
            <a:r>
              <a:rPr lang="de-DE"/>
              <a:t>stehen</a:t>
            </a:r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id="{DBB01A0E-1376-2B4D-85DA-B4B4D75D3A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9475" y="6051078"/>
            <a:ext cx="7854952" cy="554761"/>
          </a:xfrm>
        </p:spPr>
        <p:txBody>
          <a:bodyPr>
            <a:normAutofit/>
          </a:bodyPr>
          <a:lstStyle>
            <a:lvl4pPr marL="0" marR="0" indent="0" algn="l" defTabSz="914400" rtl="0" eaLnBrk="1" fontAlgn="auto" latinLnBrk="0" hangingPunct="1">
              <a:lnSpc>
                <a:spcPts val="18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aseline="0"/>
            </a:lvl4pPr>
          </a:lstStyle>
          <a:p>
            <a:pPr lvl="3"/>
            <a:r>
              <a:rPr lang="de-DE"/>
              <a:t>22. Monat 2023</a:t>
            </a:r>
          </a:p>
          <a:p>
            <a:pPr lvl="3"/>
            <a:r>
              <a:rPr lang="de-DE"/>
              <a:t>Ort, wo die Präsentation gehalten wird</a:t>
            </a:r>
          </a:p>
          <a:p>
            <a:pPr lvl="3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72983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ayout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EBA5A28-38FE-9647-86E6-9DE99D9D966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72255" y="1892316"/>
            <a:ext cx="10454875" cy="4315836"/>
          </a:xfrm>
        </p:spPr>
        <p:txBody>
          <a:bodyPr>
            <a:noAutofit/>
          </a:bodyPr>
          <a:lstStyle>
            <a:lvl1pPr>
              <a:spcAft>
                <a:spcPts val="3000"/>
              </a:spcAft>
              <a:defRPr/>
            </a:lvl1pPr>
            <a:lvl2pPr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>
              <a:lnSpc>
                <a:spcPts val="2400"/>
              </a:lnSpc>
              <a:spcAft>
                <a:spcPts val="800"/>
              </a:spcAft>
              <a:buFontTx/>
              <a:buNone/>
              <a:tabLst/>
              <a:defRPr/>
            </a:lvl3pPr>
            <a:lvl4pPr>
              <a:spcAft>
                <a:spcPts val="800"/>
              </a:spcAft>
              <a:defRPr/>
            </a:lvl4pPr>
            <a:lvl5pPr marL="355600" indent="0">
              <a:spcAft>
                <a:spcPts val="600"/>
              </a:spcAft>
              <a:buFontTx/>
              <a:buNone/>
              <a:tabLst/>
              <a:defRPr/>
            </a:lvl5pPr>
          </a:lstStyle>
          <a:p>
            <a:pPr lvl="0"/>
            <a:r>
              <a:rPr lang="de-DE"/>
              <a:t>Lead</a:t>
            </a:r>
          </a:p>
          <a:p>
            <a:pPr lvl="1"/>
            <a:r>
              <a:rPr lang="de-DE"/>
              <a:t>Aufzählung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331310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sz="quarter" idx="14"/>
          </p:nvPr>
        </p:nvSpPr>
        <p:spPr/>
        <p:txBody>
          <a:bodyPr/>
          <a:lstStyle>
            <a:lvl4pPr marL="684000" indent="-342000">
              <a:buFont typeface="Symbol" pitchFamily="18" charset="2"/>
              <a:buChar char="-"/>
              <a:defRPr/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87322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24757" y="6356349"/>
            <a:ext cx="1671918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folie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62D94A02-933B-4229-F526-61C88422DE5B}"/>
              </a:ext>
            </a:extLst>
          </p:cNvPr>
          <p:cNvSpPr/>
          <p:nvPr userDrawn="1"/>
        </p:nvSpPr>
        <p:spPr>
          <a:xfrm>
            <a:off x="1" y="0"/>
            <a:ext cx="11099800" cy="913167"/>
          </a:xfrm>
          <a:prstGeom prst="rect">
            <a:avLst/>
          </a:prstGeom>
          <a:solidFill>
            <a:srgbClr val="8CB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CBEECE8-6E8D-44CB-5051-DB9B9EAD8664}"/>
              </a:ext>
            </a:extLst>
          </p:cNvPr>
          <p:cNvSpPr/>
          <p:nvPr userDrawn="1"/>
        </p:nvSpPr>
        <p:spPr>
          <a:xfrm>
            <a:off x="11099800" y="0"/>
            <a:ext cx="1092200" cy="91316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EEC1F4F-7514-40CC-9200-2AC48D1134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575" y="64145"/>
            <a:ext cx="10651225" cy="412105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2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CH"/>
              <a:t>Tite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1292AE6-EFEB-461A-8365-A2776B759A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7477" y="159799"/>
            <a:ext cx="687180" cy="561817"/>
          </a:xfrm>
          <a:prstGeom prst="rect">
            <a:avLst/>
          </a:prstGeom>
        </p:spPr>
      </p:pic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85BD2898-6905-9E24-B50A-33BA1C572F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575" y="1246094"/>
            <a:ext cx="5523600" cy="5068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baseline="0">
                <a:solidFill>
                  <a:schemeClr val="tx1"/>
                </a:solidFill>
                <a:latin typeface="+mn-lt"/>
              </a:defRPr>
            </a:lvl1pPr>
            <a:lvl2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2pPr>
            <a:lvl3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3pPr>
            <a:lvl4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CH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7ACDD6E2-EB75-ED28-B064-DD511F11477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4600" y="1246094"/>
            <a:ext cx="5670058" cy="5068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baseline="0">
                <a:solidFill>
                  <a:schemeClr val="tx1"/>
                </a:solidFill>
                <a:latin typeface="+mn-lt"/>
              </a:defRPr>
            </a:lvl1pPr>
            <a:lvl2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2pPr>
            <a:lvl3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3pPr>
            <a:lvl4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423185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folie 70/3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6271A31C-0F31-6D21-B1D0-E284C1EA4FFF}"/>
              </a:ext>
            </a:extLst>
          </p:cNvPr>
          <p:cNvSpPr/>
          <p:nvPr userDrawn="1"/>
        </p:nvSpPr>
        <p:spPr>
          <a:xfrm>
            <a:off x="1" y="0"/>
            <a:ext cx="11099800" cy="913167"/>
          </a:xfrm>
          <a:prstGeom prst="rect">
            <a:avLst/>
          </a:prstGeom>
          <a:solidFill>
            <a:srgbClr val="8CB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690767CF-6633-6EA1-1B17-E6DD10C3FD0A}"/>
              </a:ext>
            </a:extLst>
          </p:cNvPr>
          <p:cNvSpPr/>
          <p:nvPr userDrawn="1"/>
        </p:nvSpPr>
        <p:spPr>
          <a:xfrm>
            <a:off x="11099800" y="0"/>
            <a:ext cx="1092200" cy="91316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EEC1F4F-7514-40CC-9200-2AC48D1134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575" y="64145"/>
            <a:ext cx="10651225" cy="412105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CH"/>
              <a:t>Titel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1292AE6-EFEB-461A-8365-A2776B759A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7477" y="159799"/>
            <a:ext cx="687180" cy="561817"/>
          </a:xfrm>
          <a:prstGeom prst="rect">
            <a:avLst/>
          </a:prstGeom>
        </p:spPr>
      </p:pic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5D4BEBC4-CC66-3914-CC8C-0C27363C84DB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48575" y="1246094"/>
            <a:ext cx="6633544" cy="5068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baseline="0">
                <a:solidFill>
                  <a:schemeClr val="tx1"/>
                </a:solidFill>
                <a:latin typeface="+mn-lt"/>
              </a:defRPr>
            </a:lvl1pPr>
            <a:lvl2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2pPr>
            <a:lvl3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3pPr>
            <a:lvl4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0C8165C-7208-5882-DA47-B0FB984E681B}"/>
              </a:ext>
            </a:extLst>
          </p:cNvPr>
          <p:cNvSpPr/>
          <p:nvPr userDrawn="1"/>
        </p:nvSpPr>
        <p:spPr>
          <a:xfrm>
            <a:off x="7309655" y="913994"/>
            <a:ext cx="4882345" cy="5944006"/>
          </a:xfrm>
          <a:prstGeom prst="rect">
            <a:avLst/>
          </a:prstGeom>
          <a:solidFill>
            <a:srgbClr val="D5E2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60521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DF75D83-2B77-A739-0CB0-467558B39E2B}"/>
              </a:ext>
            </a:extLst>
          </p:cNvPr>
          <p:cNvSpPr/>
          <p:nvPr userDrawn="1"/>
        </p:nvSpPr>
        <p:spPr>
          <a:xfrm>
            <a:off x="0" y="0"/>
            <a:ext cx="11099800" cy="913167"/>
          </a:xfrm>
          <a:prstGeom prst="rect">
            <a:avLst/>
          </a:prstGeom>
          <a:solidFill>
            <a:srgbClr val="009DE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C511D3E-D935-2981-DD5B-66A326ED0A75}"/>
              </a:ext>
            </a:extLst>
          </p:cNvPr>
          <p:cNvSpPr/>
          <p:nvPr userDrawn="1"/>
        </p:nvSpPr>
        <p:spPr>
          <a:xfrm>
            <a:off x="11099800" y="0"/>
            <a:ext cx="1092200" cy="91316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21781C6-7CC0-ED13-C070-5231A2DB83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7477" y="159799"/>
            <a:ext cx="687180" cy="561817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657D9355-BE39-900A-9B57-DA1BFDD3B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575" y="64145"/>
            <a:ext cx="10651225" cy="412105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0" algn="l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CH"/>
              <a:t>Titel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02AE3B75-ACF3-F0FE-B1FB-F4EFA11525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575" y="1246094"/>
            <a:ext cx="5523600" cy="5068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baseline="0">
                <a:solidFill>
                  <a:schemeClr val="tx1"/>
                </a:solidFill>
                <a:latin typeface="+mn-lt"/>
              </a:defRPr>
            </a:lvl1pPr>
            <a:lvl2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2pPr>
            <a:lvl3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3pPr>
            <a:lvl4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CH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56C3486-AF97-0D75-392C-C9D6AFB91AF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4600" y="1246094"/>
            <a:ext cx="5670058" cy="5068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baseline="0">
                <a:solidFill>
                  <a:schemeClr val="tx1"/>
                </a:solidFill>
                <a:latin typeface="+mn-lt"/>
              </a:defRPr>
            </a:lvl1pPr>
            <a:lvl2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2pPr>
            <a:lvl3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3pPr>
            <a:lvl4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10555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EBA5A28-38FE-9647-86E6-9DE99D9D966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72255" y="1892316"/>
            <a:ext cx="10454875" cy="4315836"/>
          </a:xfrm>
        </p:spPr>
        <p:txBody>
          <a:bodyPr>
            <a:noAutofit/>
          </a:bodyPr>
          <a:lstStyle>
            <a:lvl1pPr>
              <a:spcAft>
                <a:spcPts val="3000"/>
              </a:spcAft>
              <a:defRPr/>
            </a:lvl1pPr>
            <a:lvl2pPr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>
              <a:lnSpc>
                <a:spcPts val="2400"/>
              </a:lnSpc>
              <a:spcAft>
                <a:spcPts val="800"/>
              </a:spcAft>
              <a:buFontTx/>
              <a:buNone/>
              <a:tabLst/>
              <a:defRPr/>
            </a:lvl3pPr>
            <a:lvl4pPr>
              <a:spcAft>
                <a:spcPts val="800"/>
              </a:spcAft>
              <a:defRPr/>
            </a:lvl4pPr>
            <a:lvl5pPr marL="355600" indent="0">
              <a:spcAft>
                <a:spcPts val="600"/>
              </a:spcAft>
              <a:buFontTx/>
              <a:buNone/>
              <a:tabLst/>
              <a:defRPr/>
            </a:lvl5pPr>
          </a:lstStyle>
          <a:p>
            <a:pPr lvl="0"/>
            <a:r>
              <a:rPr lang="de-DE"/>
              <a:t>Lead</a:t>
            </a:r>
          </a:p>
          <a:p>
            <a:pPr lvl="1"/>
            <a:r>
              <a:rPr lang="de-DE"/>
              <a:t>Aufzählung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B2D3152-9D8A-6396-8913-66900F7FB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559148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DF75D83-2B77-A739-0CB0-467558B39E2B}"/>
              </a:ext>
            </a:extLst>
          </p:cNvPr>
          <p:cNvSpPr/>
          <p:nvPr userDrawn="1"/>
        </p:nvSpPr>
        <p:spPr>
          <a:xfrm>
            <a:off x="0" y="0"/>
            <a:ext cx="11099800" cy="913167"/>
          </a:xfrm>
          <a:prstGeom prst="rect">
            <a:avLst/>
          </a:prstGeom>
          <a:solidFill>
            <a:srgbClr val="009DE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C511D3E-D935-2981-DD5B-66A326ED0A75}"/>
              </a:ext>
            </a:extLst>
          </p:cNvPr>
          <p:cNvSpPr/>
          <p:nvPr userDrawn="1"/>
        </p:nvSpPr>
        <p:spPr>
          <a:xfrm>
            <a:off x="11099800" y="0"/>
            <a:ext cx="1092200" cy="91316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21781C6-7CC0-ED13-C070-5231A2DB83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7477" y="159799"/>
            <a:ext cx="687180" cy="561817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657D9355-BE39-900A-9B57-DA1BFDD3B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8575" y="64145"/>
            <a:ext cx="10651225" cy="412105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marL="0" algn="l">
              <a:lnSpc>
                <a:spcPct val="100000"/>
              </a:lnSpc>
              <a:spcBef>
                <a:spcPts val="600"/>
              </a:spcBef>
              <a:defRPr sz="2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CH"/>
              <a:t>Titel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E08A1778-8CFC-4643-EC52-466656098FF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48575" y="1246094"/>
            <a:ext cx="6633544" cy="50689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buNone/>
              <a:defRPr sz="1800" baseline="0">
                <a:solidFill>
                  <a:schemeClr val="tx1"/>
                </a:solidFill>
                <a:latin typeface="+mn-lt"/>
              </a:defRPr>
            </a:lvl1pPr>
            <a:lvl2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2pPr>
            <a:lvl3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3pPr>
            <a:lvl4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4pPr>
            <a:lvl5pPr marL="0" indent="-228600" algn="l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1800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4"/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B2FA6226-D895-251D-4827-E251BD3A3607}"/>
              </a:ext>
            </a:extLst>
          </p:cNvPr>
          <p:cNvSpPr/>
          <p:nvPr userDrawn="1"/>
        </p:nvSpPr>
        <p:spPr>
          <a:xfrm>
            <a:off x="7309655" y="913994"/>
            <a:ext cx="4882345" cy="5944006"/>
          </a:xfrm>
          <a:prstGeom prst="rect">
            <a:avLst/>
          </a:prstGeom>
          <a:solidFill>
            <a:srgbClr val="D6EB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03740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1F87B6F6-59E0-C371-756A-BE642BA32092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8CB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A5DC98D-3A89-7968-890C-B8DCFA34F116}"/>
              </a:ext>
            </a:extLst>
          </p:cNvPr>
          <p:cNvSpPr/>
          <p:nvPr userDrawn="1"/>
        </p:nvSpPr>
        <p:spPr>
          <a:xfrm>
            <a:off x="11099800" y="0"/>
            <a:ext cx="1092200" cy="91316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6FC9B31-CB9C-6C1D-7FA7-ECA4DEAAD6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910" y="1737808"/>
            <a:ext cx="10651225" cy="1691192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CH"/>
              <a:t>Titel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D93515-677F-F914-8C8D-2BC583B5D6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7477" y="159799"/>
            <a:ext cx="687180" cy="561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8260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8D52F52-8230-3ADE-7EB4-F0EDC7952F33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09D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63C6A43-3F59-A05C-2B42-AAC0650DE5B0}"/>
              </a:ext>
            </a:extLst>
          </p:cNvPr>
          <p:cNvSpPr/>
          <p:nvPr userDrawn="1"/>
        </p:nvSpPr>
        <p:spPr>
          <a:xfrm>
            <a:off x="11099800" y="0"/>
            <a:ext cx="1092200" cy="91316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1FDCEB03-742E-DE58-6F89-E86C6702FC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910" y="1737808"/>
            <a:ext cx="10651225" cy="1691192"/>
          </a:xfrm>
          <a:prstGeom prst="rect">
            <a:avLst/>
          </a:prstGeom>
          <a:noFill/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CH"/>
              <a:t>Titel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CB2670A-93BD-935A-3DF2-6D08EB2E3E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7477" y="159799"/>
            <a:ext cx="687180" cy="561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528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6C335A-B011-D6A8-6F04-F1B94303BF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Farben:</a:t>
            </a:r>
            <a:endParaRPr lang="de-CH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1F3FBC3-0CFE-0D0A-6929-5817D8D32A5F}"/>
              </a:ext>
            </a:extLst>
          </p:cNvPr>
          <p:cNvSpPr/>
          <p:nvPr userDrawn="1"/>
        </p:nvSpPr>
        <p:spPr>
          <a:xfrm>
            <a:off x="905435" y="2268071"/>
            <a:ext cx="1443318" cy="1443318"/>
          </a:xfrm>
          <a:prstGeom prst="rect">
            <a:avLst/>
          </a:prstGeom>
          <a:solidFill>
            <a:srgbClr val="009D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48B88BA-DE0D-393E-395F-3CB0BCA20B66}"/>
              </a:ext>
            </a:extLst>
          </p:cNvPr>
          <p:cNvSpPr/>
          <p:nvPr userDrawn="1"/>
        </p:nvSpPr>
        <p:spPr>
          <a:xfrm>
            <a:off x="2501153" y="2268071"/>
            <a:ext cx="1443318" cy="1443318"/>
          </a:xfrm>
          <a:prstGeom prst="rect">
            <a:avLst/>
          </a:prstGeom>
          <a:solidFill>
            <a:srgbClr val="8CB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8E2FDB5C-0CEF-CAAB-6EA0-1ACE83D55B90}"/>
              </a:ext>
            </a:extLst>
          </p:cNvPr>
          <p:cNvSpPr/>
          <p:nvPr userDrawn="1"/>
        </p:nvSpPr>
        <p:spPr>
          <a:xfrm>
            <a:off x="4074459" y="2268071"/>
            <a:ext cx="1443318" cy="1443318"/>
          </a:xfrm>
          <a:prstGeom prst="rect">
            <a:avLst/>
          </a:prstGeom>
          <a:solidFill>
            <a:srgbClr val="9D1E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7A5018E-7006-021E-3963-5E621D46CC4B}"/>
              </a:ext>
            </a:extLst>
          </p:cNvPr>
          <p:cNvSpPr/>
          <p:nvPr userDrawn="1"/>
        </p:nvSpPr>
        <p:spPr>
          <a:xfrm>
            <a:off x="905435" y="4052048"/>
            <a:ext cx="1443318" cy="1443318"/>
          </a:xfrm>
          <a:prstGeom prst="rect">
            <a:avLst/>
          </a:prstGeom>
          <a:solidFill>
            <a:srgbClr val="D6EB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6B59510-0BC5-B93B-12B6-6CF5E94AD8AC}"/>
              </a:ext>
            </a:extLst>
          </p:cNvPr>
          <p:cNvSpPr/>
          <p:nvPr userDrawn="1"/>
        </p:nvSpPr>
        <p:spPr>
          <a:xfrm>
            <a:off x="2501153" y="4052048"/>
            <a:ext cx="1443318" cy="1443318"/>
          </a:xfrm>
          <a:prstGeom prst="rect">
            <a:avLst/>
          </a:prstGeom>
          <a:solidFill>
            <a:srgbClr val="D5E2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87C9952-E8DA-702F-7C11-56DECDC4ED52}"/>
              </a:ext>
            </a:extLst>
          </p:cNvPr>
          <p:cNvSpPr/>
          <p:nvPr userDrawn="1"/>
        </p:nvSpPr>
        <p:spPr>
          <a:xfrm>
            <a:off x="4074459" y="4052048"/>
            <a:ext cx="1443318" cy="1443318"/>
          </a:xfrm>
          <a:prstGeom prst="rect">
            <a:avLst/>
          </a:prstGeom>
          <a:solidFill>
            <a:srgbClr val="D2AB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B6EB8DA-C3DA-FA81-4CC2-1FC74C920183}"/>
              </a:ext>
            </a:extLst>
          </p:cNvPr>
          <p:cNvSpPr/>
          <p:nvPr userDrawn="1"/>
        </p:nvSpPr>
        <p:spPr>
          <a:xfrm>
            <a:off x="5795683" y="2268070"/>
            <a:ext cx="1443318" cy="322729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E832BC2-9925-AA31-B36F-8BA00A10BAA8}"/>
              </a:ext>
            </a:extLst>
          </p:cNvPr>
          <p:cNvSpPr/>
          <p:nvPr userDrawn="1"/>
        </p:nvSpPr>
        <p:spPr>
          <a:xfrm>
            <a:off x="7391401" y="2268069"/>
            <a:ext cx="1443318" cy="3227295"/>
          </a:xfrm>
          <a:prstGeom prst="rect">
            <a:avLst/>
          </a:prstGeom>
          <a:solidFill>
            <a:srgbClr val="B1B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5995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 image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EA16A71D-B4FE-44CA-A4D1-8DA3CFBE097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solidFill>
            <a:srgbClr val="8796AA"/>
          </a:solidFill>
        </p:spPr>
        <p:txBody>
          <a:bodyPr tIns="2880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7B86BC8-9BC1-450A-92A2-3EA9442767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3795713"/>
            <a:ext cx="7824192" cy="2826543"/>
          </a:xfrm>
          <a:solidFill>
            <a:schemeClr val="bg1"/>
          </a:solidFill>
        </p:spPr>
        <p:txBody>
          <a:bodyPr lIns="468000" tIns="1940400" rIns="468000"/>
          <a:lstStyle>
            <a:lvl1pPr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CH"/>
              <a:t>Name | Organisational Unit | Place | 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056AAA-EF2D-474D-8658-A358B357E0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2913" y="4183200"/>
            <a:ext cx="6914555" cy="829879"/>
          </a:xfrm>
        </p:spPr>
        <p:txBody>
          <a:bodyPr lIns="39600" anchor="b" anchorCtr="0"/>
          <a:lstStyle>
            <a:lvl1pPr algn="l"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01CCF8-4E06-420C-8A20-F2EDB9C885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3" y="5025600"/>
            <a:ext cx="6890741" cy="576000"/>
          </a:xfrm>
        </p:spPr>
        <p:txBody>
          <a:bodyPr lIns="39600"/>
          <a:lstStyle>
            <a:lvl1pPr marL="0" indent="0" algn="l">
              <a:lnSpc>
                <a:spcPts val="3200"/>
              </a:lnSpc>
              <a:buNone/>
              <a:defRPr sz="2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subtitle</a:t>
            </a:r>
            <a:r>
              <a:rPr lang="de-CH"/>
              <a:t>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C2E1B68-58D2-410D-A640-02046D3B96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-1" y="6391274"/>
            <a:ext cx="2628901" cy="466726"/>
          </a:xfrm>
          <a:solidFill>
            <a:srgbClr val="E82025"/>
          </a:solidFill>
        </p:spPr>
        <p:txBody>
          <a:bodyPr/>
          <a:lstStyle/>
          <a:p>
            <a:pPr lvl="0"/>
            <a:r>
              <a:rPr lang="de-CH"/>
              <a:t> </a:t>
            </a:r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D004820D-C820-4663-9678-2A7F753C2C23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0" y="468000"/>
            <a:ext cx="2160000" cy="319680"/>
          </a:xfrm>
          <a:prstGeom prst="rect">
            <a:avLst/>
          </a:prstGeom>
        </p:spPr>
      </p:pic>
      <p:sp>
        <p:nvSpPr>
          <p:cNvPr id="8" name="Status" hidden="1">
            <a:extLst>
              <a:ext uri="{FF2B5EF4-FFF2-40B4-BE49-F238E27FC236}">
                <a16:creationId xmlns:a16="http://schemas.microsoft.com/office/drawing/2014/main" id="{7063CB3D-67E7-456C-B88A-868808C00878}"/>
              </a:ext>
            </a:extLst>
          </p:cNvPr>
          <p:cNvSpPr>
            <a:spLocks noChangeAspect="1"/>
          </p:cNvSpPr>
          <p:nvPr userDrawn="1">
            <p:custDataLst>
              <p:tags r:id="rId3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14854778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 image 2" preserve="1" userDrawn="1">
  <p:cSld name="Title Slid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A6F1CDC-06CB-4D62-9C8F-1086DF6D725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402557"/>
            <a:ext cx="11257275" cy="5219699"/>
          </a:xfrm>
          <a:custGeom>
            <a:avLst/>
            <a:gdLst>
              <a:gd name="connsiteX0" fmla="*/ 0 w 11257275"/>
              <a:gd name="connsiteY0" fmla="*/ 0 h 5219699"/>
              <a:gd name="connsiteX1" fmla="*/ 11257275 w 11257275"/>
              <a:gd name="connsiteY1" fmla="*/ 0 h 5219699"/>
              <a:gd name="connsiteX2" fmla="*/ 11257275 w 11257275"/>
              <a:gd name="connsiteY2" fmla="*/ 5219699 h 5219699"/>
              <a:gd name="connsiteX3" fmla="*/ 0 w 11257275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57275" h="5219699">
                <a:moveTo>
                  <a:pt x="0" y="0"/>
                </a:moveTo>
                <a:lnTo>
                  <a:pt x="11257275" y="0"/>
                </a:lnTo>
                <a:lnTo>
                  <a:pt x="11257275" y="5219699"/>
                </a:lnTo>
                <a:lnTo>
                  <a:pt x="0" y="5219699"/>
                </a:lnTo>
                <a:close/>
              </a:path>
            </a:pathLst>
          </a:custGeom>
          <a:solidFill>
            <a:srgbClr val="8796AA"/>
          </a:solidFill>
        </p:spPr>
        <p:txBody>
          <a:bodyPr wrap="square" tIns="2016000">
            <a:noAutofit/>
          </a:bodyPr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7B86BC8-9BC1-450A-92A2-3EA9442767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3795713"/>
            <a:ext cx="7824192" cy="2826543"/>
          </a:xfrm>
          <a:noFill/>
        </p:spPr>
        <p:txBody>
          <a:bodyPr lIns="468000" tIns="1940400" rIns="468000"/>
          <a:lstStyle>
            <a:lvl1pPr>
              <a:defRPr sz="1600" b="0">
                <a:solidFill>
                  <a:srgbClr val="FFFFFF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CH"/>
              <a:t>Name | Organisational Unit | Place | 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056AAA-EF2D-474D-8658-A358B357E0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2913" y="4183200"/>
            <a:ext cx="6914555" cy="829879"/>
          </a:xfrm>
        </p:spPr>
        <p:txBody>
          <a:bodyPr lIns="39600" anchor="b" anchorCtr="0"/>
          <a:lstStyle>
            <a:lvl1pPr algn="l">
              <a:lnSpc>
                <a:spcPts val="32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01CCF8-4E06-420C-8A20-F2EDB9C885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3" y="5025600"/>
            <a:ext cx="6890741" cy="576000"/>
          </a:xfrm>
        </p:spPr>
        <p:txBody>
          <a:bodyPr lIns="39600"/>
          <a:lstStyle>
            <a:lvl1pPr marL="0" indent="0" algn="l">
              <a:lnSpc>
                <a:spcPts val="3200"/>
              </a:lnSpc>
              <a:buNone/>
              <a:defRPr sz="2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subtitle</a:t>
            </a:r>
            <a:r>
              <a:rPr lang="de-CH"/>
              <a:t>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C2E1B68-58D2-410D-A640-02046D3B96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-1" y="6391274"/>
            <a:ext cx="2628901" cy="466726"/>
          </a:xfrm>
          <a:solidFill>
            <a:srgbClr val="E82025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de-CH"/>
              <a:t> 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7AB4F592-6C1E-45DB-B23B-361E84ABAF47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0" y="468000"/>
            <a:ext cx="2160000" cy="319680"/>
          </a:xfrm>
          <a:prstGeom prst="rect">
            <a:avLst/>
          </a:prstGeom>
        </p:spPr>
      </p:pic>
      <p:sp>
        <p:nvSpPr>
          <p:cNvPr id="9" name="Status" hidden="1">
            <a:extLst>
              <a:ext uri="{FF2B5EF4-FFF2-40B4-BE49-F238E27FC236}">
                <a16:creationId xmlns:a16="http://schemas.microsoft.com/office/drawing/2014/main" id="{769184DB-CFF4-4BD5-9176-C69DE3DDC832}"/>
              </a:ext>
            </a:extLst>
          </p:cNvPr>
          <p:cNvSpPr>
            <a:spLocks noChangeAspect="1"/>
          </p:cNvSpPr>
          <p:nvPr userDrawn="1">
            <p:custDataLst>
              <p:tags r:id="rId3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42897759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without image" preserve="1" userDrawn="1">
  <p:cSld name="Title Slide without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7B86BC8-9BC1-450A-92A2-3EA9442767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795713"/>
            <a:ext cx="7824192" cy="2826543"/>
          </a:xfrm>
          <a:noFill/>
        </p:spPr>
        <p:txBody>
          <a:bodyPr lIns="468000" tIns="1940400" rIns="468000"/>
          <a:lstStyle>
            <a:lvl1pPr>
              <a:spcBef>
                <a:spcPts val="200"/>
              </a:spcBef>
              <a:defRPr sz="1600" b="0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CH"/>
              <a:t>Name | Organisational Unit | Place | 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056AAA-EF2D-474D-8658-A358B357E0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2913" y="4183200"/>
            <a:ext cx="6914555" cy="829879"/>
          </a:xfrm>
        </p:spPr>
        <p:txBody>
          <a:bodyPr lIns="39600" anchor="b" anchorCtr="0"/>
          <a:lstStyle>
            <a:lvl1pPr algn="l">
              <a:lnSpc>
                <a:spcPts val="32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01CCF8-4E06-420C-8A20-F2EDB9C885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3" y="5025600"/>
            <a:ext cx="6890741" cy="576000"/>
          </a:xfrm>
        </p:spPr>
        <p:txBody>
          <a:bodyPr lIns="39600"/>
          <a:lstStyle>
            <a:lvl1pPr marL="0" indent="0" algn="l">
              <a:lnSpc>
                <a:spcPts val="3200"/>
              </a:lnSpc>
              <a:buNone/>
              <a:defRPr sz="2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subtitle</a:t>
            </a:r>
            <a:r>
              <a:rPr lang="de-CH"/>
              <a:t> styl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757055-18A6-4BBC-BE29-EA95074D3055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A3FD700-C01D-4877-8170-87736CBD476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12192000" cy="6858000"/>
            </a:xfrm>
            <a:custGeom>
              <a:avLst/>
              <a:gdLst>
                <a:gd name="connsiteX0" fmla="*/ 0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0 w 12192000"/>
                <a:gd name="connsiteY3" fmla="*/ 6858000 h 6858000"/>
                <a:gd name="connsiteX4" fmla="*/ 0 w 12192000"/>
                <a:gd name="connsiteY4" fmla="*/ 6622256 h 6858000"/>
                <a:gd name="connsiteX5" fmla="*/ 11260931 w 12192000"/>
                <a:gd name="connsiteY5" fmla="*/ 6622256 h 6858000"/>
                <a:gd name="connsiteX6" fmla="*/ 11260931 w 12192000"/>
                <a:gd name="connsiteY6" fmla="*/ 1402556 h 6858000"/>
                <a:gd name="connsiteX7" fmla="*/ 0 w 12192000"/>
                <a:gd name="connsiteY7" fmla="*/ 140255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6858000">
                  <a:moveTo>
                    <a:pt x="0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0" y="6858000"/>
                  </a:lnTo>
                  <a:lnTo>
                    <a:pt x="0" y="6622256"/>
                  </a:lnTo>
                  <a:lnTo>
                    <a:pt x="11260931" y="6622256"/>
                  </a:lnTo>
                  <a:lnTo>
                    <a:pt x="11260931" y="1402556"/>
                  </a:lnTo>
                  <a:lnTo>
                    <a:pt x="0" y="1402556"/>
                  </a:lnTo>
                  <a:close/>
                </a:path>
              </a:pathLst>
            </a:cu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CH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67A38D4-0438-4788-BDA5-8CF01867BDCB}"/>
                </a:ext>
              </a:extLst>
            </p:cNvPr>
            <p:cNvSpPr/>
            <p:nvPr userDrawn="1"/>
          </p:nvSpPr>
          <p:spPr bwMode="gray">
            <a:xfrm>
              <a:off x="11257275" y="1268760"/>
              <a:ext cx="144016" cy="5400600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pic>
        <p:nvPicPr>
          <p:cNvPr id="10" name="Logo">
            <a:extLst>
              <a:ext uri="{FF2B5EF4-FFF2-40B4-BE49-F238E27FC236}">
                <a16:creationId xmlns:a16="http://schemas.microsoft.com/office/drawing/2014/main" id="{A5D369C7-2A7A-4EBB-9ECF-886F44C52267}"/>
              </a:ext>
            </a:extLst>
          </p:cNvPr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0" y="468000"/>
            <a:ext cx="2160000" cy="319680"/>
          </a:xfrm>
          <a:prstGeom prst="rect">
            <a:avLst/>
          </a:prstGeom>
        </p:spPr>
      </p:pic>
      <p:sp>
        <p:nvSpPr>
          <p:cNvPr id="6" name="RedShape">
            <a:extLst>
              <a:ext uri="{FF2B5EF4-FFF2-40B4-BE49-F238E27FC236}">
                <a16:creationId xmlns:a16="http://schemas.microsoft.com/office/drawing/2014/main" id="{8A6F7F11-64DA-4A93-8A4D-758A3B6D9040}"/>
              </a:ext>
            </a:extLst>
          </p:cNvPr>
          <p:cNvSpPr>
            <a:spLocks/>
          </p:cNvSpPr>
          <p:nvPr userDrawn="1"/>
        </p:nvSpPr>
        <p:spPr bwMode="gray">
          <a:xfrm>
            <a:off x="-1" y="6391274"/>
            <a:ext cx="2628901" cy="466726"/>
          </a:xfrm>
          <a:prstGeom prst="rect">
            <a:avLst/>
          </a:pr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Status" hidden="1">
            <a:extLst>
              <a:ext uri="{FF2B5EF4-FFF2-40B4-BE49-F238E27FC236}">
                <a16:creationId xmlns:a16="http://schemas.microsoft.com/office/drawing/2014/main" id="{AA5742CF-FE65-42F6-A1F9-CFC755A7A036}"/>
              </a:ext>
            </a:extLst>
          </p:cNvPr>
          <p:cNvSpPr>
            <a:spLocks noChangeAspect="1"/>
          </p:cNvSpPr>
          <p:nvPr userDrawn="1">
            <p:custDataLst>
              <p:tags r:id="rId3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26112811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genda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D3878D-D212-4655-9517-E1B983CD6B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1600200"/>
            <a:ext cx="9325495" cy="4349750"/>
          </a:xfrm>
        </p:spPr>
        <p:txBody>
          <a:bodyPr/>
          <a:lstStyle>
            <a:lvl1pPr marL="482400" indent="-4572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+mj-lt"/>
              <a:buAutoNum type="arabicPeriod"/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1771FF2-B978-46BB-AE23-6282D37BF85C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760C03E-E510-4138-8515-029D08F834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12192000" cy="6858000"/>
            </a:xfrm>
            <a:custGeom>
              <a:avLst/>
              <a:gdLst>
                <a:gd name="connsiteX0" fmla="*/ 112609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0 w 12192000"/>
                <a:gd name="connsiteY3" fmla="*/ 6858000 h 6858000"/>
                <a:gd name="connsiteX4" fmla="*/ 0 w 12192000"/>
                <a:gd name="connsiteY4" fmla="*/ 6622256 h 6858000"/>
                <a:gd name="connsiteX5" fmla="*/ 11260931 w 12192000"/>
                <a:gd name="connsiteY5" fmla="*/ 662225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92000" h="6858000">
                  <a:moveTo>
                    <a:pt x="112609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0" y="6858000"/>
                  </a:lnTo>
                  <a:lnTo>
                    <a:pt x="0" y="6622256"/>
                  </a:lnTo>
                  <a:lnTo>
                    <a:pt x="11260931" y="6622256"/>
                  </a:lnTo>
                  <a:close/>
                </a:path>
              </a:pathLst>
            </a:cu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CH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8EBF653-ACB8-4522-902B-ADA9AA8BB0E2}"/>
                </a:ext>
              </a:extLst>
            </p:cNvPr>
            <p:cNvSpPr/>
            <p:nvPr userDrawn="1"/>
          </p:nvSpPr>
          <p:spPr bwMode="gray">
            <a:xfrm>
              <a:off x="11257275" y="1268760"/>
              <a:ext cx="144016" cy="5400600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285FDACF-9848-4A4D-ADE1-68EF14651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401700"/>
            <a:ext cx="9325495" cy="922275"/>
          </a:xfrm>
        </p:spPr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13" name="RedShape">
            <a:extLst>
              <a:ext uri="{FF2B5EF4-FFF2-40B4-BE49-F238E27FC236}">
                <a16:creationId xmlns:a16="http://schemas.microsoft.com/office/drawing/2014/main" id="{F323EF5C-C6E8-4E3E-9022-2594E75A3116}"/>
              </a:ext>
            </a:extLst>
          </p:cNvPr>
          <p:cNvSpPr>
            <a:spLocks/>
          </p:cNvSpPr>
          <p:nvPr userDrawn="1"/>
        </p:nvSpPr>
        <p:spPr bwMode="gray">
          <a:xfrm>
            <a:off x="-1" y="6391274"/>
            <a:ext cx="2628901" cy="466726"/>
          </a:xfrm>
          <a:prstGeom prst="rect">
            <a:avLst/>
          </a:pr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" name="Status" hidden="1">
            <a:extLst>
              <a:ext uri="{FF2B5EF4-FFF2-40B4-BE49-F238E27FC236}">
                <a16:creationId xmlns:a16="http://schemas.microsoft.com/office/drawing/2014/main" id="{37BA84EA-D623-44D9-8BDB-0ADF8AF36C13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3056810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015">
          <p15:clr>
            <a:srgbClr val="FBAE40"/>
          </p15:clr>
        </p15:guide>
        <p15:guide id="3" pos="615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1771FF2-B978-46BB-AE23-6282D37BF85C}"/>
              </a:ext>
            </a:extLst>
          </p:cNvPr>
          <p:cNvGrpSpPr/>
          <p:nvPr userDrawn="1"/>
        </p:nvGrpSpPr>
        <p:grpSpPr bwMode="gray"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760C03E-E510-4138-8515-029D08F834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0" y="0"/>
              <a:ext cx="12192000" cy="6858000"/>
            </a:xfrm>
            <a:custGeom>
              <a:avLst/>
              <a:gdLst>
                <a:gd name="connsiteX0" fmla="*/ 11260931 w 12192000"/>
                <a:gd name="connsiteY0" fmla="*/ 0 h 6858000"/>
                <a:gd name="connsiteX1" fmla="*/ 12192000 w 12192000"/>
                <a:gd name="connsiteY1" fmla="*/ 0 h 6858000"/>
                <a:gd name="connsiteX2" fmla="*/ 12192000 w 12192000"/>
                <a:gd name="connsiteY2" fmla="*/ 6858000 h 6858000"/>
                <a:gd name="connsiteX3" fmla="*/ 0 w 12192000"/>
                <a:gd name="connsiteY3" fmla="*/ 6858000 h 6858000"/>
                <a:gd name="connsiteX4" fmla="*/ 0 w 12192000"/>
                <a:gd name="connsiteY4" fmla="*/ 6622256 h 6858000"/>
                <a:gd name="connsiteX5" fmla="*/ 11260931 w 12192000"/>
                <a:gd name="connsiteY5" fmla="*/ 662225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92000" h="6858000">
                  <a:moveTo>
                    <a:pt x="11260931" y="0"/>
                  </a:moveTo>
                  <a:lnTo>
                    <a:pt x="12192000" y="0"/>
                  </a:lnTo>
                  <a:lnTo>
                    <a:pt x="12192000" y="6858000"/>
                  </a:lnTo>
                  <a:lnTo>
                    <a:pt x="0" y="6858000"/>
                  </a:lnTo>
                  <a:lnTo>
                    <a:pt x="0" y="6622256"/>
                  </a:lnTo>
                  <a:lnTo>
                    <a:pt x="11260931" y="6622256"/>
                  </a:lnTo>
                  <a:close/>
                </a:path>
              </a:pathLst>
            </a:cu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CH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8EBF653-ACB8-4522-902B-ADA9AA8BB0E2}"/>
                </a:ext>
              </a:extLst>
            </p:cNvPr>
            <p:cNvSpPr/>
            <p:nvPr userDrawn="1"/>
          </p:nvSpPr>
          <p:spPr bwMode="gray">
            <a:xfrm>
              <a:off x="11257275" y="1268760"/>
              <a:ext cx="144016" cy="5400600"/>
            </a:xfrm>
            <a:prstGeom prst="rect">
              <a:avLst/>
            </a:prstGeom>
            <a:solidFill>
              <a:srgbClr val="E4E4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285FDACF-9848-4A4D-ADE1-68EF14651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401700"/>
            <a:ext cx="9325495" cy="922275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1BB405D-975F-46F3-82C1-ABA69182AF3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2913" y="1600200"/>
            <a:ext cx="9325495" cy="4349750"/>
          </a:xfrm>
        </p:spPr>
        <p:txBody>
          <a:bodyPr/>
          <a:lstStyle>
            <a:lvl1pPr marL="482400" indent="-45720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Font typeface="+mj-lt"/>
              <a:buAutoNum type="arabicPeriod"/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8" name="RedShape">
            <a:extLst>
              <a:ext uri="{FF2B5EF4-FFF2-40B4-BE49-F238E27FC236}">
                <a16:creationId xmlns:a16="http://schemas.microsoft.com/office/drawing/2014/main" id="{85B5E697-4085-45F2-AE4F-D778AFEEAAB9}"/>
              </a:ext>
            </a:extLst>
          </p:cNvPr>
          <p:cNvSpPr>
            <a:spLocks/>
          </p:cNvSpPr>
          <p:nvPr userDrawn="1"/>
        </p:nvSpPr>
        <p:spPr bwMode="gray">
          <a:xfrm>
            <a:off x="-1" y="6391274"/>
            <a:ext cx="2628901" cy="466726"/>
          </a:xfrm>
          <a:prstGeom prst="rect">
            <a:avLst/>
          </a:pr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Status" hidden="1">
            <a:extLst>
              <a:ext uri="{FF2B5EF4-FFF2-40B4-BE49-F238E27FC236}">
                <a16:creationId xmlns:a16="http://schemas.microsoft.com/office/drawing/2014/main" id="{551C448D-4987-4F32-849A-E522F71B3626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4087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015">
          <p15:clr>
            <a:srgbClr val="FBAE40"/>
          </p15:clr>
        </p15:guide>
        <p15:guide id="3" pos="615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FC866A-E9C2-47F4-8DA8-FDAC6A2E1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00199"/>
            <a:ext cx="9325496" cy="4349750"/>
          </a:xfrm>
        </p:spPr>
        <p:txBody>
          <a:bodyPr lIns="468000"/>
          <a:lstStyle>
            <a:lvl1pPr marL="21600">
              <a:lnSpc>
                <a:spcPts val="5200"/>
              </a:lnSpc>
              <a:defRPr sz="4800"/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5" name="RedShape">
            <a:extLst>
              <a:ext uri="{FF2B5EF4-FFF2-40B4-BE49-F238E27FC236}">
                <a16:creationId xmlns:a16="http://schemas.microsoft.com/office/drawing/2014/main" id="{181FB7A7-2E0A-44E7-8286-E9DB161F15D9}"/>
              </a:ext>
            </a:extLst>
          </p:cNvPr>
          <p:cNvSpPr>
            <a:spLocks/>
          </p:cNvSpPr>
          <p:nvPr userDrawn="1"/>
        </p:nvSpPr>
        <p:spPr bwMode="gray">
          <a:xfrm>
            <a:off x="-1" y="6391274"/>
            <a:ext cx="2628901" cy="466726"/>
          </a:xfrm>
          <a:prstGeom prst="rect">
            <a:avLst/>
          </a:pr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" name="Status" hidden="1">
            <a:extLst>
              <a:ext uri="{FF2B5EF4-FFF2-40B4-BE49-F238E27FC236}">
                <a16:creationId xmlns:a16="http://schemas.microsoft.com/office/drawing/2014/main" id="{DCF1DAF9-A417-4AFA-A590-7232F6C97E65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2505948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5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folie Testi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>
            <a:extLst>
              <a:ext uri="{FF2B5EF4-FFF2-40B4-BE49-F238E27FC236}">
                <a16:creationId xmlns:a16="http://schemas.microsoft.com/office/drawing/2014/main" id="{763804F6-C502-6445-BED7-0C507757CE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8563" y="0"/>
            <a:ext cx="5913437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99EDC34-C4FC-E844-97A9-4F00DA257FE0}"/>
              </a:ext>
            </a:extLst>
          </p:cNvPr>
          <p:cNvSpPr txBox="1"/>
          <p:nvPr userDrawn="1"/>
        </p:nvSpPr>
        <p:spPr>
          <a:xfrm>
            <a:off x="437827" y="1757987"/>
            <a:ext cx="798928" cy="16013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0" b="1" i="0">
                <a:solidFill>
                  <a:srgbClr val="E5352C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«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EBA5A28-38FE-9647-86E6-9DE99D9D966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45600" y="1972800"/>
            <a:ext cx="7372353" cy="2536057"/>
          </a:xfrm>
          <a:solidFill>
            <a:schemeClr val="bg1">
              <a:alpha val="89000"/>
            </a:schemeClr>
          </a:solidFill>
          <a:ln>
            <a:noFill/>
          </a:ln>
        </p:spPr>
        <p:txBody>
          <a:bodyPr wrap="square" tIns="396000" rIns="360000" bIns="288000" anchor="t" anchorCtr="0">
            <a:spAutoFit/>
          </a:bodyPr>
          <a:lstStyle>
            <a:lvl1pPr>
              <a:spcAft>
                <a:spcPts val="0"/>
              </a:spcAft>
              <a:defRPr sz="3000"/>
            </a:lvl1pPr>
            <a:lvl2pPr>
              <a:lnSpc>
                <a:spcPts val="2800"/>
              </a:lnSpc>
              <a:spcBef>
                <a:spcPts val="600"/>
              </a:spcBef>
              <a:defRPr sz="2000" b="1" i="0">
                <a:solidFill>
                  <a:srgbClr val="E5352C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2pPr>
            <a:lvl3pPr marL="0" indent="0">
              <a:lnSpc>
                <a:spcPts val="2000"/>
              </a:lnSpc>
              <a:buNone/>
              <a:defRPr sz="1400"/>
            </a:lvl3pPr>
          </a:lstStyle>
          <a:p>
            <a:pPr lvl="0"/>
            <a:r>
              <a:rPr lang="de-DE"/>
              <a:t>Mastertextformat </a:t>
            </a:r>
            <a:br>
              <a:rPr lang="de-DE"/>
            </a:br>
            <a:r>
              <a:rPr lang="de-DE"/>
              <a:t>Mastertextformat</a:t>
            </a:r>
          </a:p>
          <a:p>
            <a:pPr lvl="1"/>
            <a:r>
              <a:rPr lang="de-DE"/>
              <a:t>ZWEITE EBENE»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080673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with Video" preserve="1" userDrawn="1">
  <p:cSld name="Section Header with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RAI_D 2">
            <a:hlinkClick r:id="" action="ppaction://media"/>
            <a:extLst>
              <a:ext uri="{FF2B5EF4-FFF2-40B4-BE49-F238E27FC236}">
                <a16:creationId xmlns:a16="http://schemas.microsoft.com/office/drawing/2014/main" id="{2C175858-9488-46E3-94CE-9369763777C0}"/>
              </a:ext>
            </a:extLst>
          </p:cNvPr>
          <p:cNvPicPr>
            <a:picLocks noChangeAspect="1"/>
          </p:cNvPicPr>
          <p:nvPr userDrawn="1"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9A58894B-18F1-4BB2-8402-9015B46A9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00199"/>
            <a:ext cx="9325496" cy="4349750"/>
          </a:xfrm>
        </p:spPr>
        <p:txBody>
          <a:bodyPr lIns="468000"/>
          <a:lstStyle>
            <a:lvl1pPr marL="21600">
              <a:lnSpc>
                <a:spcPts val="5200"/>
              </a:lnSpc>
              <a:defRPr sz="4800"/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5" name="Status" hidden="1">
            <a:extLst>
              <a:ext uri="{FF2B5EF4-FFF2-40B4-BE49-F238E27FC236}">
                <a16:creationId xmlns:a16="http://schemas.microsoft.com/office/drawing/2014/main" id="{802DFF33-D36B-4000-84BA-5088D62DCFF2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984222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77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  <p:extLst>
    <p:ext uri="{DCECCB84-F9BA-43D5-87BE-67443E8EF086}">
      <p15:sldGuideLst xmlns:p15="http://schemas.microsoft.com/office/powerpoint/2012/main">
        <p15:guide id="3" pos="615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with image" preserve="1" userDrawn="1">
  <p:cSld name="Section Header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85276FA-1452-4B57-94A3-8CB505D3A2F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1257275" cy="6622256"/>
          </a:xfrm>
          <a:custGeom>
            <a:avLst/>
            <a:gdLst>
              <a:gd name="connsiteX0" fmla="*/ 0 w 11257275"/>
              <a:gd name="connsiteY0" fmla="*/ 0 h 6622256"/>
              <a:gd name="connsiteX1" fmla="*/ 11257275 w 11257275"/>
              <a:gd name="connsiteY1" fmla="*/ 0 h 6622256"/>
              <a:gd name="connsiteX2" fmla="*/ 11257275 w 11257275"/>
              <a:gd name="connsiteY2" fmla="*/ 6622256 h 6622256"/>
              <a:gd name="connsiteX3" fmla="*/ 0 w 11257275"/>
              <a:gd name="connsiteY3" fmla="*/ 6622256 h 6622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57275" h="6622256">
                <a:moveTo>
                  <a:pt x="0" y="0"/>
                </a:moveTo>
                <a:lnTo>
                  <a:pt x="11257275" y="0"/>
                </a:lnTo>
                <a:lnTo>
                  <a:pt x="11257275" y="6622256"/>
                </a:lnTo>
                <a:lnTo>
                  <a:pt x="0" y="6622256"/>
                </a:lnTo>
                <a:close/>
              </a:path>
            </a:pathLst>
          </a:custGeom>
          <a:solidFill>
            <a:srgbClr val="8796AA"/>
          </a:solidFill>
        </p:spPr>
        <p:txBody>
          <a:bodyPr wrap="square" tIns="2772000">
            <a:noAutofit/>
          </a:bodyPr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A758B8A6-31EF-4A5C-8ED1-F7D7996554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-1" y="6391274"/>
            <a:ext cx="2628901" cy="466726"/>
          </a:xfrm>
          <a:solidFill>
            <a:srgbClr val="E82025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de-CH"/>
              <a:t> 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BF42516B-B9B7-428F-B20D-98E7D0341C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00199"/>
            <a:ext cx="9325496" cy="4349750"/>
          </a:xfrm>
        </p:spPr>
        <p:txBody>
          <a:bodyPr lIns="468000"/>
          <a:lstStyle>
            <a:lvl1pPr marL="21600">
              <a:lnSpc>
                <a:spcPts val="52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5" name="Status" hidden="1">
            <a:extLst>
              <a:ext uri="{FF2B5EF4-FFF2-40B4-BE49-F238E27FC236}">
                <a16:creationId xmlns:a16="http://schemas.microsoft.com/office/drawing/2014/main" id="{C1C9095A-500A-473D-9EED-9B606F4B36A3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173378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615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red with image" preserve="1" userDrawn="1">
  <p:cSld name="Section Header red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D7728F3-7262-49D7-98BC-6B91D5340BE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11257276" cy="6393600"/>
          </a:xfrm>
          <a:custGeom>
            <a:avLst/>
            <a:gdLst>
              <a:gd name="connsiteX0" fmla="*/ 0 w 11257276"/>
              <a:gd name="connsiteY0" fmla="*/ 0 h 6393600"/>
              <a:gd name="connsiteX1" fmla="*/ 11257276 w 11257276"/>
              <a:gd name="connsiteY1" fmla="*/ 0 h 6393600"/>
              <a:gd name="connsiteX2" fmla="*/ 11257276 w 11257276"/>
              <a:gd name="connsiteY2" fmla="*/ 6393600 h 6393600"/>
              <a:gd name="connsiteX3" fmla="*/ 0 w 11257276"/>
              <a:gd name="connsiteY3" fmla="*/ 6393600 h 639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257276" h="6393600">
                <a:moveTo>
                  <a:pt x="0" y="0"/>
                </a:moveTo>
                <a:lnTo>
                  <a:pt x="11257276" y="0"/>
                </a:lnTo>
                <a:lnTo>
                  <a:pt x="11257276" y="6393600"/>
                </a:lnTo>
                <a:lnTo>
                  <a:pt x="0" y="6393600"/>
                </a:lnTo>
                <a:close/>
              </a:path>
            </a:pathLst>
          </a:custGeom>
          <a:solidFill>
            <a:srgbClr val="8796AA"/>
          </a:solidFill>
        </p:spPr>
        <p:txBody>
          <a:bodyPr wrap="square" tIns="2628000">
            <a:noAutofit/>
          </a:bodyPr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6CB10ABF-3706-483D-A6A4-9A0A3B5B92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600199"/>
            <a:ext cx="9325496" cy="4349750"/>
          </a:xfrm>
        </p:spPr>
        <p:txBody>
          <a:bodyPr lIns="468000"/>
          <a:lstStyle>
            <a:lvl1pPr marL="21600">
              <a:lnSpc>
                <a:spcPts val="52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11" name="RedShape">
            <a:extLst>
              <a:ext uri="{FF2B5EF4-FFF2-40B4-BE49-F238E27FC236}">
                <a16:creationId xmlns:a16="http://schemas.microsoft.com/office/drawing/2014/main" id="{4809CBC4-C8E0-423B-B66F-2815D64F1FA0}"/>
              </a:ext>
            </a:extLst>
          </p:cNvPr>
          <p:cNvSpPr>
            <a:spLocks/>
          </p:cNvSpPr>
          <p:nvPr userDrawn="1"/>
        </p:nvSpPr>
        <p:spPr bwMode="gray">
          <a:xfrm>
            <a:off x="0" y="6393600"/>
            <a:ext cx="12192000" cy="464400"/>
          </a:xfrm>
          <a:prstGeom prst="rect">
            <a:avLst/>
          </a:pr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3" name="RedShape">
            <a:extLst>
              <a:ext uri="{FF2B5EF4-FFF2-40B4-BE49-F238E27FC236}">
                <a16:creationId xmlns:a16="http://schemas.microsoft.com/office/drawing/2014/main" id="{8E381129-B199-4B81-A1FA-C63B9C72AE1C}"/>
              </a:ext>
            </a:extLst>
          </p:cNvPr>
          <p:cNvSpPr>
            <a:spLocks/>
          </p:cNvSpPr>
          <p:nvPr userDrawn="1"/>
        </p:nvSpPr>
        <p:spPr bwMode="gray">
          <a:xfrm>
            <a:off x="11257275" y="0"/>
            <a:ext cx="934724" cy="6858000"/>
          </a:xfrm>
          <a:prstGeom prst="rect">
            <a:avLst/>
          </a:pr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Status" hidden="1">
            <a:extLst>
              <a:ext uri="{FF2B5EF4-FFF2-40B4-BE49-F238E27FC236}">
                <a16:creationId xmlns:a16="http://schemas.microsoft.com/office/drawing/2014/main" id="{7A532852-1876-4F49-AE54-BCB3A6EBA005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accent6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3609812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615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 with image small" preserve="1" userDrawn="1">
  <p:cSld name="Section Header with image sma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9">
            <a:extLst>
              <a:ext uri="{FF2B5EF4-FFF2-40B4-BE49-F238E27FC236}">
                <a16:creationId xmlns:a16="http://schemas.microsoft.com/office/drawing/2014/main" id="{3EB64528-DA68-41F7-9598-D8C100EDEC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2" y="0"/>
            <a:ext cx="5857873" cy="6622256"/>
          </a:xfrm>
          <a:solidFill>
            <a:srgbClr val="8796AA"/>
          </a:solidFill>
        </p:spPr>
        <p:txBody>
          <a:bodyPr tIns="2772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4" name="Text Placeholder 21">
            <a:extLst>
              <a:ext uri="{FF2B5EF4-FFF2-40B4-BE49-F238E27FC236}">
                <a16:creationId xmlns:a16="http://schemas.microsoft.com/office/drawing/2014/main" id="{A758B8A6-31EF-4A5C-8ED1-F7D7996554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-1" y="6391274"/>
            <a:ext cx="2628901" cy="466726"/>
          </a:xfrm>
          <a:solidFill>
            <a:srgbClr val="E82025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de-CH"/>
              <a:t> 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1E0BE1D-7B7C-49AF-BB61-17A96D50A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6474" y="1600200"/>
            <a:ext cx="4932076" cy="4349750"/>
          </a:xfrm>
        </p:spPr>
        <p:txBody>
          <a:bodyPr lIns="0"/>
          <a:lstStyle>
            <a:lvl1pPr marL="21600">
              <a:lnSpc>
                <a:spcPts val="44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7" name="Status" hidden="1">
            <a:extLst>
              <a:ext uri="{FF2B5EF4-FFF2-40B4-BE49-F238E27FC236}">
                <a16:creationId xmlns:a16="http://schemas.microsoft.com/office/drawing/2014/main" id="{5E8E5C57-53D2-41C9-818E-46AB7FC8B36B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2338972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690">
          <p15:clr>
            <a:srgbClr val="FBAE40"/>
          </p15:clr>
        </p15:guide>
        <p15:guide id="4" pos="3984">
          <p15:clr>
            <a:srgbClr val="FBAE40"/>
          </p15:clr>
        </p15:guide>
        <p15:guide id="5" pos="709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6A387-BDB2-4C97-82D1-4CDCD75988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600201"/>
            <a:ext cx="11282362" cy="4349079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D496718-3575-4BAA-85AA-BB38B0D6F3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01700"/>
            <a:ext cx="11282361" cy="922275"/>
          </a:xfrm>
        </p:spPr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512789-8DD5-4DD5-8A28-0746D7D2928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63403B9-8F5E-4CA2-BBC7-99E13008BB5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271066-1AAE-412E-B9F8-D9C23941A7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7" name="Status" hidden="1">
            <a:extLst>
              <a:ext uri="{FF2B5EF4-FFF2-40B4-BE49-F238E27FC236}">
                <a16:creationId xmlns:a16="http://schemas.microsoft.com/office/drawing/2014/main" id="{6CDED308-401D-4ABC-9BF9-428358A9F333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9" name="FootnoteBox" hidden="1">
            <a:extLst>
              <a:ext uri="{FF2B5EF4-FFF2-40B4-BE49-F238E27FC236}">
                <a16:creationId xmlns:a16="http://schemas.microsoft.com/office/drawing/2014/main" id="{8F7C8BCF-CFBF-4802-81D3-CA2DDBADF61C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42913" y="6058800"/>
            <a:ext cx="9324975" cy="20796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200" rtl="0">
              <a:lnSpc>
                <a:spcPts val="1600"/>
              </a:lnSpc>
              <a:spcAft>
                <a:spcPts val="300"/>
              </a:spcAft>
            </a:pPr>
            <a:r>
              <a:rPr lang="de-CH" sz="1200" err="1">
                <a:solidFill>
                  <a:schemeClr val="tx2"/>
                </a:solidFill>
                <a:latin typeface="+mj-lt"/>
              </a:rPr>
              <a:t>Footnote</a:t>
            </a:r>
            <a:endParaRPr lang="de-CH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58299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and Content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6A387-BDB2-4C97-82D1-4CDCD75988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4" y="1600201"/>
            <a:ext cx="11282361" cy="4349079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AC2FA7-DFA0-4106-8D84-B3B8F56FE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7EF3811-9F05-4621-AC6C-172393CA036B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A5C50AC-6B80-4A87-87AB-33FDA670F557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442913" y="766763"/>
            <a:ext cx="11282361" cy="557212"/>
          </a:xfrm>
        </p:spPr>
        <p:txBody>
          <a:bodyPr lIns="25200"/>
          <a:lstStyle>
            <a:lvl1pPr marL="0" indent="0" algn="l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subtitle</a:t>
            </a:r>
            <a:r>
              <a:rPr lang="de-CH"/>
              <a:t> sty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D5D5FBF-635A-4620-B550-9435B7CCC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01701"/>
            <a:ext cx="11282361" cy="355537"/>
          </a:xfrm>
        </p:spPr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FED9A46-6969-4E16-98D5-076839683B5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10" name="Status" hidden="1">
            <a:extLst>
              <a:ext uri="{FF2B5EF4-FFF2-40B4-BE49-F238E27FC236}">
                <a16:creationId xmlns:a16="http://schemas.microsoft.com/office/drawing/2014/main" id="{C8153E8E-7984-4E45-85D2-72E54629DDE6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12" name="FootnoteBox" hidden="1">
            <a:extLst>
              <a:ext uri="{FF2B5EF4-FFF2-40B4-BE49-F238E27FC236}">
                <a16:creationId xmlns:a16="http://schemas.microsoft.com/office/drawing/2014/main" id="{07A46924-4D77-43BF-97E9-F298A245E7B4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42913" y="6058800"/>
            <a:ext cx="9324975" cy="20796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200" rtl="0">
              <a:lnSpc>
                <a:spcPts val="1600"/>
              </a:lnSpc>
              <a:spcAft>
                <a:spcPts val="300"/>
              </a:spcAft>
            </a:pPr>
            <a:r>
              <a:rPr lang="de-CH" sz="1200" err="1">
                <a:solidFill>
                  <a:schemeClr val="tx2"/>
                </a:solidFill>
                <a:latin typeface="+mj-lt"/>
              </a:rPr>
              <a:t>Footnote</a:t>
            </a:r>
            <a:endParaRPr lang="de-CH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90491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, Subtitle regular and Content" preserve="1" userDrawn="1">
  <p:cSld name="Title, Subtitle regula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6A387-BDB2-4C97-82D1-4CDCD75988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4" y="1600201"/>
            <a:ext cx="11282361" cy="4349079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AC2FA7-DFA0-4106-8D84-B3B8F56FE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AF62D0B-4A6D-4438-B0B5-5FCFC083AA00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5A5C50AC-6B80-4A87-87AB-33FDA670F557}"/>
              </a:ext>
            </a:extLst>
          </p:cNvPr>
          <p:cNvSpPr>
            <a:spLocks noGrp="1"/>
          </p:cNvSpPr>
          <p:nvPr>
            <p:ph type="subTitle" idx="12"/>
          </p:nvPr>
        </p:nvSpPr>
        <p:spPr>
          <a:xfrm>
            <a:off x="442913" y="766763"/>
            <a:ext cx="11282361" cy="557212"/>
          </a:xfrm>
        </p:spPr>
        <p:txBody>
          <a:bodyPr lIns="25200"/>
          <a:lstStyle>
            <a:lvl1pPr marL="0" indent="0" algn="l">
              <a:lnSpc>
                <a:spcPts val="28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subtitle</a:t>
            </a:r>
            <a:r>
              <a:rPr lang="de-CH"/>
              <a:t> sty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D5D5FBF-635A-4620-B550-9435B7CCC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01701"/>
            <a:ext cx="11282361" cy="355537"/>
          </a:xfrm>
        </p:spPr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FB59C35-1308-4788-860D-ECCDD8B6DE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10" name="Status" hidden="1">
            <a:extLst>
              <a:ext uri="{FF2B5EF4-FFF2-40B4-BE49-F238E27FC236}">
                <a16:creationId xmlns:a16="http://schemas.microsoft.com/office/drawing/2014/main" id="{BA7A9929-2BDD-4AB2-A7A0-C40CF02F1490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12" name="FootnoteBox" hidden="1">
            <a:extLst>
              <a:ext uri="{FF2B5EF4-FFF2-40B4-BE49-F238E27FC236}">
                <a16:creationId xmlns:a16="http://schemas.microsoft.com/office/drawing/2014/main" id="{05020463-3665-4C5C-AE1E-AAE638952B54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42913" y="6058800"/>
            <a:ext cx="9324975" cy="20796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200" rtl="0">
              <a:lnSpc>
                <a:spcPts val="1600"/>
              </a:lnSpc>
              <a:spcAft>
                <a:spcPts val="300"/>
              </a:spcAft>
            </a:pPr>
            <a:r>
              <a:rPr lang="de-CH" sz="1200" err="1">
                <a:solidFill>
                  <a:schemeClr val="tx2"/>
                </a:solidFill>
                <a:latin typeface="+mj-lt"/>
              </a:rPr>
              <a:t>Footnote</a:t>
            </a:r>
            <a:endParaRPr lang="de-CH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610952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6A387-BDB2-4C97-82D1-4CDCD75988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5" y="1600201"/>
            <a:ext cx="5412579" cy="4349749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AC2FA7-DFA0-4106-8D84-B3B8F56FE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8432DA-4837-4F78-A5A1-1E82F044C4D0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290C43-0E2C-47DF-99E2-E1E02194DB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26475" y="1600201"/>
            <a:ext cx="5401842" cy="43497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22AEEA-4EEA-4F24-85C8-71366B7B8F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01700"/>
            <a:ext cx="11282053" cy="922275"/>
          </a:xfrm>
        </p:spPr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0882DB73-76C9-42B6-9981-ED6DE1187B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9" name="Status" hidden="1">
            <a:extLst>
              <a:ext uri="{FF2B5EF4-FFF2-40B4-BE49-F238E27FC236}">
                <a16:creationId xmlns:a16="http://schemas.microsoft.com/office/drawing/2014/main" id="{4670B6EC-3EAA-48A7-AC25-A54BADB157C9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grpSp>
        <p:nvGrpSpPr>
          <p:cNvPr id="2" name="FootnoteBox" hidden="1">
            <a:extLst>
              <a:ext uri="{FF2B5EF4-FFF2-40B4-BE49-F238E27FC236}">
                <a16:creationId xmlns:a16="http://schemas.microsoft.com/office/drawing/2014/main" id="{05C32D8C-97F4-45F7-9E36-C2D81C49363D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442913" y="6058800"/>
            <a:ext cx="11282053" cy="207962"/>
            <a:chOff x="442913" y="6058800"/>
            <a:chExt cx="11282053" cy="207962"/>
          </a:xfrm>
        </p:grpSpPr>
        <p:sp>
          <p:nvSpPr>
            <p:cNvPr id="10" name="FootnoteBoxLeft">
              <a:extLst>
                <a:ext uri="{FF2B5EF4-FFF2-40B4-BE49-F238E27FC236}">
                  <a16:creationId xmlns:a16="http://schemas.microsoft.com/office/drawing/2014/main" id="{F4A1DA1A-BF3A-468A-BCBB-1C4EB51B3AE9}"/>
                </a:ext>
              </a:extLst>
            </p:cNvPr>
            <p:cNvSpPr txBox="1">
              <a:spLocks/>
            </p:cNvSpPr>
            <p:nvPr userDrawn="1">
              <p:custDataLst>
                <p:tags r:id="rId4"/>
              </p:custDataLst>
            </p:nvPr>
          </p:nvSpPr>
          <p:spPr>
            <a:xfrm>
              <a:off x="442913" y="6058800"/>
              <a:ext cx="5424717" cy="207962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>
              <a:defPPr>
                <a:defRPr lang="de-DE"/>
              </a:defPPr>
              <a:lvl1pPr>
                <a:defRPr sz="1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25200" rtl="0">
                <a:lnSpc>
                  <a:spcPts val="1600"/>
                </a:lnSpc>
                <a:spcAft>
                  <a:spcPts val="300"/>
                </a:spcAft>
              </a:pPr>
              <a:r>
                <a:rPr lang="de-CH" sz="1200">
                  <a:solidFill>
                    <a:schemeClr val="tx2"/>
                  </a:solidFill>
                  <a:latin typeface="+mj-lt"/>
                </a:rPr>
                <a:t>&lt;</a:t>
              </a:r>
              <a:r>
                <a:rPr lang="de-CH" sz="1200" err="1">
                  <a:solidFill>
                    <a:schemeClr val="tx2"/>
                  </a:solidFill>
                  <a:latin typeface="+mj-lt"/>
                </a:rPr>
                <a:t>Footnote</a:t>
              </a:r>
              <a:r>
                <a:rPr lang="de-CH" sz="1200">
                  <a:solidFill>
                    <a:schemeClr val="tx2"/>
                  </a:solidFill>
                  <a:latin typeface="+mj-lt"/>
                </a:rPr>
                <a:t>&gt;</a:t>
              </a:r>
            </a:p>
          </p:txBody>
        </p:sp>
        <p:sp>
          <p:nvSpPr>
            <p:cNvPr id="14" name="FootnoteBoxRight">
              <a:extLst>
                <a:ext uri="{FF2B5EF4-FFF2-40B4-BE49-F238E27FC236}">
                  <a16:creationId xmlns:a16="http://schemas.microsoft.com/office/drawing/2014/main" id="{1198CB4D-6373-40D7-AAB9-9D8568F67030}"/>
                </a:ext>
              </a:extLst>
            </p:cNvPr>
            <p:cNvSpPr txBox="1">
              <a:spLocks/>
            </p:cNvSpPr>
            <p:nvPr userDrawn="1">
              <p:custDataLst>
                <p:tags r:id="rId5"/>
              </p:custDataLst>
            </p:nvPr>
          </p:nvSpPr>
          <p:spPr>
            <a:xfrm>
              <a:off x="6300249" y="6058800"/>
              <a:ext cx="5424717" cy="207962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noAutofit/>
            </a:bodyPr>
            <a:lstStyle>
              <a:defPPr>
                <a:defRPr lang="de-DE"/>
              </a:defPPr>
              <a:lvl1pPr>
                <a:defRPr sz="1000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25200" rtl="0">
                <a:lnSpc>
                  <a:spcPts val="1600"/>
                </a:lnSpc>
                <a:spcAft>
                  <a:spcPts val="300"/>
                </a:spcAft>
              </a:pPr>
              <a:r>
                <a:rPr lang="de-CH" sz="1200">
                  <a:solidFill>
                    <a:schemeClr val="tx2"/>
                  </a:solidFill>
                  <a:latin typeface="+mj-lt"/>
                </a:rPr>
                <a:t>&lt;</a:t>
              </a:r>
              <a:r>
                <a:rPr lang="de-CH" sz="1200" err="1">
                  <a:solidFill>
                    <a:schemeClr val="tx2"/>
                  </a:solidFill>
                  <a:latin typeface="+mj-lt"/>
                </a:rPr>
                <a:t>Footnote</a:t>
              </a:r>
              <a:r>
                <a:rPr lang="de-CH" sz="1200">
                  <a:solidFill>
                    <a:schemeClr val="tx2"/>
                  </a:solidFill>
                  <a:latin typeface="+mj-lt"/>
                </a:rPr>
                <a:t>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7183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0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Image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1C8316-1D52-4E84-B5F4-7BDDF67252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6326475" y="0"/>
            <a:ext cx="5865526" cy="6229350"/>
          </a:xfrm>
          <a:solidFill>
            <a:srgbClr val="8796AA"/>
          </a:solidFill>
        </p:spPr>
        <p:txBody>
          <a:bodyPr tIns="2556000" anchor="t" anchorCtr="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6A387-BDB2-4C97-82D1-4CDCD75988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5" y="1600201"/>
            <a:ext cx="5412579" cy="4349749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AC2FA7-DFA0-4106-8D84-B3B8F56FE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ABC255-D906-403F-9B46-91434C511AB4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B0F6661-FB21-48E8-B413-F4FEE67335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01700"/>
            <a:ext cx="5415561" cy="922275"/>
          </a:xfrm>
        </p:spPr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A5FE0-BB9B-4B25-B413-E0BD314E0B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11" name="Status" hidden="1">
            <a:extLst>
              <a:ext uri="{FF2B5EF4-FFF2-40B4-BE49-F238E27FC236}">
                <a16:creationId xmlns:a16="http://schemas.microsoft.com/office/drawing/2014/main" id="{B5EC2A72-B1C9-42D5-8F94-8061125A06B4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12" name="FootnoteBox" hidden="1">
            <a:extLst>
              <a:ext uri="{FF2B5EF4-FFF2-40B4-BE49-F238E27FC236}">
                <a16:creationId xmlns:a16="http://schemas.microsoft.com/office/drawing/2014/main" id="{190629C0-AD76-400E-8E97-936361B90023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42914" y="6058800"/>
            <a:ext cx="5414962" cy="20796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200" rtl="0">
              <a:lnSpc>
                <a:spcPts val="1600"/>
              </a:lnSpc>
              <a:spcAft>
                <a:spcPts val="300"/>
              </a:spcAft>
            </a:pPr>
            <a:r>
              <a:rPr lang="de-CH" sz="1200" err="1">
                <a:solidFill>
                  <a:schemeClr val="tx2"/>
                </a:solidFill>
                <a:latin typeface="+mj-lt"/>
              </a:rPr>
              <a:t>Footnote</a:t>
            </a:r>
            <a:endParaRPr lang="de-CH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40516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0">
          <p15:clr>
            <a:srgbClr val="FBAE40"/>
          </p15:clr>
        </p15:guide>
        <p15:guide id="2" orient="horz" pos="3924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two Images right" preserve="1" userDrawn="1">
  <p:cSld name="Content and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F1D235B-F7E5-4B74-89A8-EC157F058A7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326474" y="3174206"/>
            <a:ext cx="5865527" cy="3055142"/>
          </a:xfrm>
          <a:solidFill>
            <a:srgbClr val="8796AA"/>
          </a:solidFill>
        </p:spPr>
        <p:txBody>
          <a:bodyPr tIns="972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1C8316-1D52-4E84-B5F4-7BDDF67252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6326474" y="1"/>
            <a:ext cx="5865527" cy="3055273"/>
          </a:xfrm>
          <a:solidFill>
            <a:srgbClr val="8796AA"/>
          </a:solidFill>
        </p:spPr>
        <p:txBody>
          <a:bodyPr tIns="972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6A387-BDB2-4C97-82D1-4CDCD75988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5" y="1600201"/>
            <a:ext cx="5412579" cy="4349749"/>
          </a:xfrm>
        </p:spPr>
        <p:txBody>
          <a:bodyPr/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AC2FA7-DFA0-4106-8D84-B3B8F56FE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BA826E-61F8-48F9-A1AC-159FBEC6BE0C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2E01CC6-3930-4A86-B8AB-40D7702F63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01700"/>
            <a:ext cx="5415561" cy="922275"/>
          </a:xfrm>
        </p:spPr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9704D40-A9BD-43B2-872C-9E51AF5344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12" name="Status" hidden="1">
            <a:extLst>
              <a:ext uri="{FF2B5EF4-FFF2-40B4-BE49-F238E27FC236}">
                <a16:creationId xmlns:a16="http://schemas.microsoft.com/office/drawing/2014/main" id="{63DF3440-6211-4C88-8712-B28B8C919443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13" name="FootnoteBox" hidden="1">
            <a:extLst>
              <a:ext uri="{FF2B5EF4-FFF2-40B4-BE49-F238E27FC236}">
                <a16:creationId xmlns:a16="http://schemas.microsoft.com/office/drawing/2014/main" id="{0508C264-9733-4559-9899-B1BE80D07139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42913" y="6058800"/>
            <a:ext cx="5418137" cy="20796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200" rtl="0">
              <a:lnSpc>
                <a:spcPts val="1600"/>
              </a:lnSpc>
              <a:spcAft>
                <a:spcPts val="300"/>
              </a:spcAft>
            </a:pPr>
            <a:r>
              <a:rPr lang="de-CH" sz="1200" err="1">
                <a:solidFill>
                  <a:schemeClr val="tx2"/>
                </a:solidFill>
                <a:latin typeface="+mj-lt"/>
              </a:rPr>
              <a:t>Footnote</a:t>
            </a:r>
            <a:endParaRPr lang="de-CH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55066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2">
          <p15:clr>
            <a:srgbClr val="FBAE40"/>
          </p15:clr>
        </p15:guide>
        <p15:guide id="2" orient="horz" pos="3924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Bild g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BB07CE-92E0-4844-AD2E-FE75B8FC1A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2255" y="906839"/>
            <a:ext cx="7740650" cy="713259"/>
          </a:xfrm>
        </p:spPr>
        <p:txBody>
          <a:bodyPr/>
          <a:lstStyle/>
          <a:p>
            <a:r>
              <a:rPr lang="de-DE"/>
              <a:t>Tit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E1139100-F490-5D46-BD65-534CB499664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2000" y="1385238"/>
            <a:ext cx="10439400" cy="5461001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8815090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with Content" preserve="1" userDrawn="1">
  <p:cSld name="Imag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1C8316-1D52-4E84-B5F4-7BDDF67252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0" y="0"/>
            <a:ext cx="5857873" cy="6229350"/>
          </a:xfrm>
          <a:solidFill>
            <a:srgbClr val="8796AA"/>
          </a:solidFill>
        </p:spPr>
        <p:txBody>
          <a:bodyPr tIns="2556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981FA0-4CCF-4676-BEB0-5D23CEDB6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434" y="401700"/>
            <a:ext cx="5401841" cy="922275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6A387-BDB2-4C97-82D1-4CDCD75988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6474" y="1600201"/>
            <a:ext cx="5401842" cy="43497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AC2FA7-DFA0-4106-8D84-B3B8F56FE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256DA64-BD99-47A7-BF8A-4BB03389EC48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1A2C76-20BD-405F-8B4E-3F21BC65C2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11" name="Status" hidden="1">
            <a:extLst>
              <a:ext uri="{FF2B5EF4-FFF2-40B4-BE49-F238E27FC236}">
                <a16:creationId xmlns:a16="http://schemas.microsoft.com/office/drawing/2014/main" id="{B6448BDA-D044-498D-9AE4-B01B24843AA1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12" name="FootnoteBox" hidden="1">
            <a:extLst>
              <a:ext uri="{FF2B5EF4-FFF2-40B4-BE49-F238E27FC236}">
                <a16:creationId xmlns:a16="http://schemas.microsoft.com/office/drawing/2014/main" id="{4D5AFAAF-C4F4-4CF6-A1E1-D7ED568CE24B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6300249" y="6058800"/>
            <a:ext cx="5424717" cy="20796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200" rtl="0">
              <a:lnSpc>
                <a:spcPts val="1600"/>
              </a:lnSpc>
              <a:spcAft>
                <a:spcPts val="300"/>
              </a:spcAft>
            </a:pPr>
            <a:r>
              <a:rPr lang="de-CH" sz="1200" err="1">
                <a:solidFill>
                  <a:schemeClr val="tx2"/>
                </a:solidFill>
                <a:latin typeface="+mj-lt"/>
              </a:rPr>
              <a:t>Footnote</a:t>
            </a:r>
            <a:endParaRPr lang="de-CH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3070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84">
          <p15:clr>
            <a:srgbClr val="FBAE40"/>
          </p15:clr>
        </p15:guide>
        <p15:guide id="2" orient="horz" pos="3924">
          <p15:clr>
            <a:srgbClr val="FBAE40"/>
          </p15:clr>
        </p15:guide>
        <p15:guide id="3" pos="369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nd two Images left" preserve="1" userDrawn="1">
  <p:cSld name="Content and two Images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A0587F5-26E2-48A1-B928-AF070B011CA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3174074"/>
            <a:ext cx="5857873" cy="3055274"/>
          </a:xfrm>
          <a:solidFill>
            <a:srgbClr val="8796AA"/>
          </a:solidFill>
        </p:spPr>
        <p:txBody>
          <a:bodyPr tIns="972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71C8316-1D52-4E84-B5F4-7BDDF67252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0" y="2"/>
            <a:ext cx="5857873" cy="3055272"/>
          </a:xfrm>
          <a:solidFill>
            <a:srgbClr val="8796AA"/>
          </a:solidFill>
        </p:spPr>
        <p:txBody>
          <a:bodyPr tIns="972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981FA0-4CCF-4676-BEB0-5D23CEDB6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3434" y="401700"/>
            <a:ext cx="5401841" cy="922275"/>
          </a:xfrm>
        </p:spPr>
        <p:txBody>
          <a:bodyPr/>
          <a:lstStyle>
            <a:lvl1pPr>
              <a:defRPr/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6A387-BDB2-4C97-82D1-4CDCD75988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6474" y="1600201"/>
            <a:ext cx="5401842" cy="43497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AC2FA7-DFA0-4106-8D84-B3B8F56FE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512998-F383-4B68-B338-76EBB53F4298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D19CB2-21C1-4470-9D15-FC055E5D7D7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10" name="Status" hidden="1">
            <a:extLst>
              <a:ext uri="{FF2B5EF4-FFF2-40B4-BE49-F238E27FC236}">
                <a16:creationId xmlns:a16="http://schemas.microsoft.com/office/drawing/2014/main" id="{2F18ECF0-535F-47E3-8E63-6CDB6468F225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12" name="FootnoteBox" hidden="1">
            <a:extLst>
              <a:ext uri="{FF2B5EF4-FFF2-40B4-BE49-F238E27FC236}">
                <a16:creationId xmlns:a16="http://schemas.microsoft.com/office/drawing/2014/main" id="{76654818-679D-4E76-A69B-24B7988609AC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6300249" y="6058800"/>
            <a:ext cx="5424717" cy="20796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200" rtl="0">
              <a:lnSpc>
                <a:spcPts val="1600"/>
              </a:lnSpc>
              <a:spcAft>
                <a:spcPts val="300"/>
              </a:spcAft>
            </a:pPr>
            <a:r>
              <a:rPr lang="de-CH" sz="1200" err="1">
                <a:solidFill>
                  <a:schemeClr val="tx2"/>
                </a:solidFill>
                <a:latin typeface="+mj-lt"/>
              </a:rPr>
              <a:t>Footnote</a:t>
            </a:r>
            <a:endParaRPr lang="de-CH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1249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84">
          <p15:clr>
            <a:srgbClr val="FBAE40"/>
          </p15:clr>
        </p15:guide>
        <p15:guide id="2" orient="horz" pos="3924">
          <p15:clr>
            <a:srgbClr val="FBAE40"/>
          </p15:clr>
        </p15:guide>
        <p15:guide id="3" pos="369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Image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76BCACD-AE11-44C3-B1B6-8416D04193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0" y="1600201"/>
            <a:ext cx="11724966" cy="4629148"/>
          </a:xfrm>
          <a:solidFill>
            <a:srgbClr val="8796AA"/>
          </a:solidFill>
        </p:spPr>
        <p:txBody>
          <a:bodyPr tIns="1728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0270AE-EDFE-4274-8F58-293EC56E1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16DD1D-F989-4D6C-91F0-EBFB500F33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8139A07-A90F-4848-8398-3BFD6149E876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7145FA3-DEC0-42A0-B7FB-707C7691638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7" name="Status" hidden="1">
            <a:extLst>
              <a:ext uri="{FF2B5EF4-FFF2-40B4-BE49-F238E27FC236}">
                <a16:creationId xmlns:a16="http://schemas.microsoft.com/office/drawing/2014/main" id="{EB9B608C-68BF-4C7A-915C-F5AD32A6056C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921595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53">
          <p15:clr>
            <a:srgbClr val="FBAE40"/>
          </p15:clr>
        </p15:guide>
        <p15:guide id="2" orient="horz" pos="392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Images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FC1DD5B-E50B-40EA-95C2-FD995EAF217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-1" y="1600201"/>
            <a:ext cx="5802797" cy="4629148"/>
          </a:xfrm>
          <a:solidFill>
            <a:srgbClr val="8796AA"/>
          </a:solidFill>
        </p:spPr>
        <p:txBody>
          <a:bodyPr tIns="1728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76BCACD-AE11-44C3-B1B6-8416D04193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5922169" y="1600201"/>
            <a:ext cx="5802797" cy="4629148"/>
          </a:xfrm>
          <a:solidFill>
            <a:srgbClr val="8796AA"/>
          </a:solidFill>
        </p:spPr>
        <p:txBody>
          <a:bodyPr tIns="1728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5AC2FA7-DFA0-4106-8D84-B3B8F56FE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2FFE57-237F-453B-B2D9-8BC7BAAE2FC9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4F96513-7E20-4205-982D-826342CE98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4C495B0-D28E-4C7B-B61C-024055840A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7" name="Status" hidden="1">
            <a:extLst>
              <a:ext uri="{FF2B5EF4-FFF2-40B4-BE49-F238E27FC236}">
                <a16:creationId xmlns:a16="http://schemas.microsoft.com/office/drawing/2014/main" id="{3770E8AD-AF8E-47D1-B7F5-4CE05E239A80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2930221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53">
          <p15:clr>
            <a:srgbClr val="FBAE40"/>
          </p15:clr>
        </p15:guide>
        <p15:guide id="2" orient="horz" pos="392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with frame only" preserve="1" userDrawn="1">
  <p:cSld name="Image with fram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76BCACD-AE11-44C3-B1B6-8416D04193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-1" y="400051"/>
            <a:ext cx="11725276" cy="5829298"/>
          </a:xfrm>
          <a:solidFill>
            <a:srgbClr val="8796AA"/>
          </a:solidFill>
        </p:spPr>
        <p:txBody>
          <a:bodyPr tIns="2304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B047B3-B78F-4737-999A-B54A2AA197D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69027B9-110A-4439-85C1-F61E48030757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A48690-2860-447B-AC69-3D187688EC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5" name="Status" hidden="1">
            <a:extLst>
              <a:ext uri="{FF2B5EF4-FFF2-40B4-BE49-F238E27FC236}">
                <a16:creationId xmlns:a16="http://schemas.microsoft.com/office/drawing/2014/main" id="{E17F9E01-3DCB-49D3-90DF-6A44BE0A6CBD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4254604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2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Image Only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76BCACD-AE11-44C3-B1B6-8416D04193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"/>
            <a:ext cx="12192000" cy="6858000"/>
          </a:xfrm>
          <a:solidFill>
            <a:srgbClr val="8796AA"/>
          </a:solidFill>
        </p:spPr>
        <p:txBody>
          <a:bodyPr tIns="2844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43D13C-251D-4B40-8231-368B33F1525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934A4D8-BD5C-40AE-B91F-BB22A2542770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8A0375-1AE2-4CBB-B659-3B47FCEAE2E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6" name="Status" hidden="1">
            <a:extLst>
              <a:ext uri="{FF2B5EF4-FFF2-40B4-BE49-F238E27FC236}">
                <a16:creationId xmlns:a16="http://schemas.microsoft.com/office/drawing/2014/main" id="{64DB8D84-7E5C-4D57-97E7-996162C86256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2E9E984C-8D4A-4AC3-8C32-6AC04E66CB97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967" y="6465714"/>
            <a:ext cx="1080000" cy="15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159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tatement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76BCACD-AE11-44C3-B1B6-8416D04193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rgbClr val="8796AA"/>
          </a:solidFill>
        </p:spPr>
        <p:txBody>
          <a:bodyPr tIns="2844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EEC6CC-E5A5-49D9-A8DE-8589A3540B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600200"/>
            <a:ext cx="9405937" cy="4349750"/>
          </a:xfrm>
        </p:spPr>
        <p:txBody>
          <a:bodyPr lIns="468000"/>
          <a:lstStyle>
            <a:lvl1pPr>
              <a:lnSpc>
                <a:spcPts val="5200"/>
              </a:lnSpc>
              <a:spcBef>
                <a:spcPts val="0"/>
              </a:spcBef>
              <a:spcAft>
                <a:spcPts val="0"/>
              </a:spcAft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A3B2F53-84F3-4A11-B9A4-4519854115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CH"/>
              <a:t>Raiffeisen Makroblick 4Q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00197-05FD-4634-9CEE-AA2E9BE69AA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F9FD4837-DE65-44A0-B79B-35A76B101AC1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Status" hidden="1">
            <a:extLst>
              <a:ext uri="{FF2B5EF4-FFF2-40B4-BE49-F238E27FC236}">
                <a16:creationId xmlns:a16="http://schemas.microsoft.com/office/drawing/2014/main" id="{B2C0C45B-7939-46AF-B049-B8A45A92C516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DE4570ED-9091-45E9-9D9F-D548D8D65D18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967" y="6465714"/>
            <a:ext cx="1080000" cy="15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776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20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ext large with Image" preserve="1" userDrawn="1">
  <p:cSld name="Text larg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676BCACD-AE11-44C3-B1B6-8416D04193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solidFill>
            <a:srgbClr val="8796AA"/>
          </a:solidFill>
        </p:spPr>
        <p:txBody>
          <a:bodyPr tIns="2844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picture</a:t>
            </a:r>
            <a:endParaRPr lang="de-CH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EEC6CC-E5A5-49D9-A8DE-8589A3540B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600200"/>
            <a:ext cx="9405937" cy="4349750"/>
          </a:xfrm>
        </p:spPr>
        <p:txBody>
          <a:bodyPr lIns="482400"/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71EC9AD-6220-4996-AB4D-ADED1001642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CH"/>
              <a:t>Raiffeisen Makroblick 4Q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1290FD-9E71-4F1E-86FF-9574437570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901DC22-F8D6-4B90-B17B-BF257C875441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Status" hidden="1">
            <a:extLst>
              <a:ext uri="{FF2B5EF4-FFF2-40B4-BE49-F238E27FC236}">
                <a16:creationId xmlns:a16="http://schemas.microsoft.com/office/drawing/2014/main" id="{A5C00327-1AA2-478D-82E3-BF69C477F412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120AA4A4-A507-4091-BA58-27653CCDF487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967" y="6465714"/>
            <a:ext cx="1080000" cy="15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070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20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Movie Only" preserve="1" userDrawn="1">
  <p:cSld name="Movi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A3F5674E-DAFB-472F-9994-A2BB6BB07257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-1" y="0"/>
            <a:ext cx="12192000" cy="6858000"/>
          </a:xfrm>
          <a:solidFill>
            <a:srgbClr val="8796AA"/>
          </a:solidFill>
        </p:spPr>
        <p:txBody>
          <a:bodyPr tIns="2844000"/>
          <a:lstStyle>
            <a:lvl1pPr algn="ctr">
              <a:defRPr b="0"/>
            </a:lvl1pPr>
          </a:lstStyle>
          <a:p>
            <a:r>
              <a:rPr lang="de-CH"/>
              <a:t>Click </a:t>
            </a:r>
            <a:r>
              <a:rPr lang="de-CH" err="1"/>
              <a:t>icon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add</a:t>
            </a:r>
            <a:r>
              <a:rPr lang="de-CH"/>
              <a:t> </a:t>
            </a:r>
            <a:r>
              <a:rPr lang="de-CH" err="1"/>
              <a:t>media</a:t>
            </a:r>
            <a:endParaRPr lang="de-CH"/>
          </a:p>
        </p:txBody>
      </p:sp>
      <p:sp>
        <p:nvSpPr>
          <p:cNvPr id="3" name="Status" hidden="1">
            <a:extLst>
              <a:ext uri="{FF2B5EF4-FFF2-40B4-BE49-F238E27FC236}">
                <a16:creationId xmlns:a16="http://schemas.microsoft.com/office/drawing/2014/main" id="{24F3C829-51F6-417E-B490-A5F8D2D2D0AF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3469249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red" preserve="1" userDrawn="1">
  <p:cSld name="Quot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EEC6CC-E5A5-49D9-A8DE-8589A3540B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600200"/>
            <a:ext cx="9405936" cy="2404864"/>
          </a:xfrm>
        </p:spPr>
        <p:txBody>
          <a:bodyPr lIns="244800"/>
          <a:lstStyle>
            <a:lvl1pPr marL="273600" indent="-252000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tabLst>
                <a:tab pos="360363" algn="l"/>
              </a:tabLst>
              <a:defRPr sz="4000">
                <a:solidFill>
                  <a:srgbClr val="E82025"/>
                </a:solidFill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8AA45D-9234-4311-A580-D2ED9A4018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2914" y="4078800"/>
            <a:ext cx="9405936" cy="360363"/>
          </a:xfrm>
        </p:spPr>
        <p:txBody>
          <a:bodyPr lIns="493200"/>
          <a:lstStyle>
            <a:lvl1pPr>
              <a:lnSpc>
                <a:spcPts val="1800"/>
              </a:lnSpc>
              <a:spcBef>
                <a:spcPts val="0"/>
              </a:spcBef>
              <a:defRPr sz="1600" b="0">
                <a:solidFill>
                  <a:srgbClr val="E82025"/>
                </a:solidFill>
                <a:latin typeface="+mn-lt"/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174352-5C5A-42F0-B91F-55565E08CB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F4FD846-82B9-4EEB-BA81-8CCA249BD5D5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02F9BC-2140-4CC7-9300-7BF3D6CDE84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7" name="Status" hidden="1">
            <a:extLst>
              <a:ext uri="{FF2B5EF4-FFF2-40B4-BE49-F238E27FC236}">
                <a16:creationId xmlns:a16="http://schemas.microsoft.com/office/drawing/2014/main" id="{46394E68-3A79-48CE-8C6E-A8F6F11DF602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3517254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3">
          <p15:clr>
            <a:srgbClr val="FBAE40"/>
          </p15:clr>
        </p15:guide>
        <p15:guide id="3" pos="620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05A264-E220-174C-A630-4E1488690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126791B3-3589-6640-A611-E77B4697ECA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2000" y="1815151"/>
            <a:ext cx="10439400" cy="424275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223557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white" preserve="1" userDrawn="1">
  <p:cSld name="Quote white">
    <p:bg>
      <p:bgPr>
        <a:solidFill>
          <a:srgbClr val="E82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EEC6CC-E5A5-49D9-A8DE-8589A3540B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600200"/>
            <a:ext cx="9405936" cy="2404864"/>
          </a:xfrm>
        </p:spPr>
        <p:txBody>
          <a:bodyPr lIns="244800"/>
          <a:lstStyle>
            <a:lvl1pPr marL="273600" indent="-252000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tabLst>
                <a:tab pos="360363" algn="l"/>
              </a:tabLst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8AA45D-9234-4311-A580-D2ED9A40188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42914" y="4078800"/>
            <a:ext cx="9405936" cy="360363"/>
          </a:xfrm>
        </p:spPr>
        <p:txBody>
          <a:bodyPr lIns="493200"/>
          <a:lstStyle>
            <a:lvl1pPr>
              <a:lnSpc>
                <a:spcPts val="1800"/>
              </a:lnSpc>
              <a:spcBef>
                <a:spcPts val="0"/>
              </a:spcBef>
              <a:defRPr sz="1600" b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588187-C298-46E6-BF50-6FADE04F45F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CH"/>
              <a:t>Raiffeisen Makroblick 4Q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174352-5C5A-42F0-B91F-55565E08CB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6BEC9367-6B5D-4AB2-B207-EDA1C8277673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Status" hidden="1">
            <a:extLst>
              <a:ext uri="{FF2B5EF4-FFF2-40B4-BE49-F238E27FC236}">
                <a16:creationId xmlns:a16="http://schemas.microsoft.com/office/drawing/2014/main" id="{5FAC1309-2D02-4952-A102-4957B69F4141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accent6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8717E601-EA9A-476D-88AA-2EBFFA958E27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967" y="6465714"/>
            <a:ext cx="1080000" cy="15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087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3">
          <p15:clr>
            <a:srgbClr val="FBAE40"/>
          </p15:clr>
        </p15:guide>
        <p15:guide id="3" pos="620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red" preserve="1" userDrawn="1">
  <p:cSld name="Statem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EEC6CC-E5A5-49D9-A8DE-8589A3540B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600200"/>
            <a:ext cx="9405936" cy="2404864"/>
          </a:xfrm>
        </p:spPr>
        <p:txBody>
          <a:bodyPr lIns="244800"/>
          <a:lstStyle>
            <a:lvl1pPr marL="22225" indent="0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tabLst/>
              <a:defRPr sz="4000">
                <a:solidFill>
                  <a:srgbClr val="E82025"/>
                </a:solidFill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174352-5C5A-42F0-B91F-55565E08CB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499BCED-F77B-4474-9B99-0FEB420AABC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DECD17-6755-4259-A8AE-0B6FC5221B5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5" name="Status" hidden="1">
            <a:extLst>
              <a:ext uri="{FF2B5EF4-FFF2-40B4-BE49-F238E27FC236}">
                <a16:creationId xmlns:a16="http://schemas.microsoft.com/office/drawing/2014/main" id="{D87DF8C9-F2C6-461F-BC2C-4B61E592FE31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886456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3">
          <p15:clr>
            <a:srgbClr val="FBAE40"/>
          </p15:clr>
        </p15:guide>
        <p15:guide id="3" pos="620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 white" preserve="1" userDrawn="1">
  <p:cSld name="Statement white">
    <p:bg>
      <p:bgPr>
        <a:solidFill>
          <a:srgbClr val="E82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EEC6CC-E5A5-49D9-A8DE-8589A3540B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913" y="1600200"/>
            <a:ext cx="9405936" cy="2404864"/>
          </a:xfrm>
        </p:spPr>
        <p:txBody>
          <a:bodyPr lIns="244800"/>
          <a:lstStyle>
            <a:lvl1pPr marL="22225" indent="0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tabLst/>
              <a:defRPr sz="4000">
                <a:solidFill>
                  <a:schemeClr val="bg2"/>
                </a:solidFill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3588187-C298-46E6-BF50-6FADE04F45F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CH"/>
              <a:t>Raiffeisen Makroblick 4Q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4174352-5C5A-42F0-B91F-55565E08CB1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1BA43671-290C-46DD-BEE9-C4C15A401646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Status" hidden="1">
            <a:extLst>
              <a:ext uri="{FF2B5EF4-FFF2-40B4-BE49-F238E27FC236}">
                <a16:creationId xmlns:a16="http://schemas.microsoft.com/office/drawing/2014/main" id="{3D400A96-68BF-43B9-9ADF-E8297ECE1AD2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accent6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56413405-0523-496A-B5FF-8CEC11723727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967" y="6465714"/>
            <a:ext cx="1080000" cy="15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362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3">
          <p15:clr>
            <a:srgbClr val="FBAE40"/>
          </p15:clr>
        </p15:guide>
        <p15:guide id="3" pos="620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ercentage and Text" preserve="1" userDrawn="1">
  <p:cSld name="Percentage and Text">
    <p:bg>
      <p:bgPr>
        <a:solidFill>
          <a:srgbClr val="E820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5EEC6CC-E5A5-49D9-A8DE-8589A3540B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2914" y="1242000"/>
            <a:ext cx="9405938" cy="2449864"/>
          </a:xfrm>
        </p:spPr>
        <p:txBody>
          <a:bodyPr lIns="446400"/>
          <a:lstStyle>
            <a:lvl1pPr marL="360363" indent="-338138">
              <a:lnSpc>
                <a:spcPct val="92000"/>
              </a:lnSpc>
              <a:spcBef>
                <a:spcPts val="200"/>
              </a:spcBef>
              <a:spcAft>
                <a:spcPts val="0"/>
              </a:spcAft>
              <a:defRPr sz="20000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00%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28AA45D-9234-4311-A580-D2ED9A4018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2913" y="3743325"/>
            <a:ext cx="9405937" cy="2206625"/>
          </a:xfrm>
        </p:spPr>
        <p:txBody>
          <a:bodyPr lIns="489600"/>
          <a:lstStyle>
            <a:lvl1pPr>
              <a:lnSpc>
                <a:spcPts val="2400"/>
              </a:lnSpc>
              <a:spcBef>
                <a:spcPts val="0"/>
              </a:spcBef>
              <a:defRPr sz="24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</p:txBody>
      </p:sp>
      <p:sp>
        <p:nvSpPr>
          <p:cNvPr id="8" name="Status" hidden="1">
            <a:extLst>
              <a:ext uri="{FF2B5EF4-FFF2-40B4-BE49-F238E27FC236}">
                <a16:creationId xmlns:a16="http://schemas.microsoft.com/office/drawing/2014/main" id="{D7732403-53BE-4E0F-9A24-DA741BD9E6BA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accent6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EF7DA9-1045-4DA7-BCCF-678C47FDC37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CH"/>
              <a:t>Raiffeisen Makroblick 4Q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885E3F-9643-4D87-80EA-76615BF49F6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9459BB3B-2932-4450-9F7A-4B67FE0A8BC0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3D2C9458-7401-41F2-B141-AC7621169286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967" y="6465714"/>
            <a:ext cx="1080000" cy="15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01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620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D496718-3575-4BAA-85AA-BB38B0D6F3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01700"/>
            <a:ext cx="11282361" cy="922275"/>
          </a:xfrm>
        </p:spPr>
        <p:txBody>
          <a:bodyPr/>
          <a:lstStyle/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512789-8DD5-4DD5-8A28-0746D7D2928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1AC1DB9-F5C0-4B99-AA74-0B3FDFE5FA1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57D9C42-6577-4CC0-AFEA-3FEC02450C0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6" name="Status" hidden="1">
            <a:extLst>
              <a:ext uri="{FF2B5EF4-FFF2-40B4-BE49-F238E27FC236}">
                <a16:creationId xmlns:a16="http://schemas.microsoft.com/office/drawing/2014/main" id="{B3EF1373-ADC1-4359-AAC0-5CBE324AD405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9" name="FootnoteBox" hidden="1">
            <a:extLst>
              <a:ext uri="{FF2B5EF4-FFF2-40B4-BE49-F238E27FC236}">
                <a16:creationId xmlns:a16="http://schemas.microsoft.com/office/drawing/2014/main" id="{8F9DA410-3593-48B2-A826-165CE1085AC3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42913" y="6058800"/>
            <a:ext cx="9324975" cy="20796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200" rtl="0">
              <a:lnSpc>
                <a:spcPts val="1600"/>
              </a:lnSpc>
              <a:spcAft>
                <a:spcPts val="300"/>
              </a:spcAft>
            </a:pPr>
            <a:r>
              <a:rPr lang="de-CH" sz="1200" err="1">
                <a:solidFill>
                  <a:schemeClr val="tx2"/>
                </a:solidFill>
                <a:latin typeface="+mj-lt"/>
              </a:rPr>
              <a:t>Footnote</a:t>
            </a:r>
            <a:endParaRPr lang="de-CH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64537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53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9512789-8DD5-4DD5-8A28-0746D7D2928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21264A9-46F4-4944-904B-B633D1DBEFAC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4B2EFD4-B91C-47E1-8CA8-43276C9BE38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CH"/>
              <a:t>Raiffeisen Makroblick 4Q23</a:t>
            </a:r>
          </a:p>
        </p:txBody>
      </p:sp>
      <p:sp>
        <p:nvSpPr>
          <p:cNvPr id="5" name="Status" hidden="1">
            <a:extLst>
              <a:ext uri="{FF2B5EF4-FFF2-40B4-BE49-F238E27FC236}">
                <a16:creationId xmlns:a16="http://schemas.microsoft.com/office/drawing/2014/main" id="{AFD9D4F7-4BAF-4FA0-B9A1-84240BFA724C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  <p:sp>
        <p:nvSpPr>
          <p:cNvPr id="6" name="FootnoteBox" hidden="1">
            <a:extLst>
              <a:ext uri="{FF2B5EF4-FFF2-40B4-BE49-F238E27FC236}">
                <a16:creationId xmlns:a16="http://schemas.microsoft.com/office/drawing/2014/main" id="{F9E2B246-C141-4219-AA32-F76AD6BFB743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442913" y="6058800"/>
            <a:ext cx="9324975" cy="207962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de-DE"/>
            </a:defPPr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25200" rtl="0">
              <a:lnSpc>
                <a:spcPts val="1600"/>
              </a:lnSpc>
              <a:spcAft>
                <a:spcPts val="300"/>
              </a:spcAft>
            </a:pPr>
            <a:r>
              <a:rPr lang="de-CH" sz="1200" err="1">
                <a:solidFill>
                  <a:schemeClr val="tx2"/>
                </a:solidFill>
                <a:latin typeface="+mj-lt"/>
              </a:rPr>
              <a:t>Footnote</a:t>
            </a:r>
            <a:endParaRPr lang="de-CH" sz="120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90608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153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hank you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81FA0-4CCF-4676-BEB0-5D23CEDB6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418400"/>
            <a:ext cx="11282053" cy="922275"/>
          </a:xfrm>
        </p:spPr>
        <p:txBody>
          <a:bodyPr lIns="25200"/>
          <a:lstStyle>
            <a:lvl1pPr>
              <a:lnSpc>
                <a:spcPct val="97000"/>
              </a:lnSpc>
              <a:defRPr sz="8000"/>
            </a:lvl1pPr>
          </a:lstStyle>
          <a:p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76A387-BDB2-4C97-82D1-4CDCD75988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2912" y="4150801"/>
            <a:ext cx="3420000" cy="179848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1700"/>
              </a:spcAft>
              <a:defRPr sz="1400"/>
            </a:lvl1pPr>
            <a:lvl2pPr marL="2160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>
              <a:lnSpc>
                <a:spcPct val="91000"/>
              </a:lnSpc>
              <a:spcBef>
                <a:spcPts val="200"/>
              </a:spcBef>
              <a:spcAft>
                <a:spcPts val="0"/>
              </a:spcAft>
              <a:defRPr sz="1400"/>
            </a:lvl3pPr>
            <a:lvl4pPr>
              <a:lnSpc>
                <a:spcPct val="91000"/>
              </a:lnSpc>
              <a:spcBef>
                <a:spcPts val="200"/>
              </a:spcBef>
              <a:spcAft>
                <a:spcPts val="0"/>
              </a:spcAft>
              <a:defRPr sz="1400"/>
            </a:lvl4pPr>
            <a:lvl5pPr>
              <a:lnSpc>
                <a:spcPct val="91000"/>
              </a:lnSpc>
              <a:spcBef>
                <a:spcPts val="2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de-CH"/>
              <a:t>First </a:t>
            </a:r>
            <a:r>
              <a:rPr lang="de-CH" err="1"/>
              <a:t>name</a:t>
            </a:r>
            <a:r>
              <a:rPr lang="de-CH"/>
              <a:t> Last </a:t>
            </a:r>
            <a:r>
              <a:rPr lang="de-CH" err="1"/>
              <a:t>name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0804CB8-45C3-4119-A7B5-D58B134899A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2399" y="4150800"/>
            <a:ext cx="3420000" cy="1798481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1700"/>
              </a:spcAft>
              <a:defRPr sz="1400"/>
            </a:lvl1pPr>
            <a:lvl2pPr marL="2160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>
              <a:lnSpc>
                <a:spcPct val="91000"/>
              </a:lnSpc>
              <a:spcBef>
                <a:spcPts val="200"/>
              </a:spcBef>
              <a:spcAft>
                <a:spcPts val="0"/>
              </a:spcAft>
              <a:defRPr sz="1400"/>
            </a:lvl3pPr>
            <a:lvl4pPr>
              <a:lnSpc>
                <a:spcPct val="91000"/>
              </a:lnSpc>
              <a:spcBef>
                <a:spcPts val="200"/>
              </a:spcBef>
              <a:spcAft>
                <a:spcPts val="0"/>
              </a:spcAft>
              <a:defRPr sz="1400"/>
            </a:lvl4pPr>
            <a:lvl5pPr>
              <a:lnSpc>
                <a:spcPct val="91000"/>
              </a:lnSpc>
              <a:spcBef>
                <a:spcPts val="2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de-CH"/>
              <a:t>First </a:t>
            </a:r>
            <a:r>
              <a:rPr lang="de-CH" err="1"/>
              <a:t>name</a:t>
            </a:r>
            <a:r>
              <a:rPr lang="de-CH"/>
              <a:t> Last </a:t>
            </a:r>
            <a:r>
              <a:rPr lang="de-CH" err="1"/>
              <a:t>name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8C13C9F-8A8C-431B-894E-D4CDEAB1F3E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261999" y="4150801"/>
            <a:ext cx="3463276" cy="179915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spcAft>
                <a:spcPts val="1700"/>
              </a:spcAft>
              <a:defRPr sz="1400"/>
            </a:lvl1pPr>
            <a:lvl2pPr marL="21600" indent="0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>
              <a:lnSpc>
                <a:spcPct val="91000"/>
              </a:lnSpc>
              <a:spcBef>
                <a:spcPts val="200"/>
              </a:spcBef>
              <a:spcAft>
                <a:spcPts val="0"/>
              </a:spcAft>
              <a:defRPr sz="1400"/>
            </a:lvl3pPr>
            <a:lvl4pPr>
              <a:lnSpc>
                <a:spcPct val="91000"/>
              </a:lnSpc>
              <a:spcBef>
                <a:spcPts val="200"/>
              </a:spcBef>
              <a:spcAft>
                <a:spcPts val="0"/>
              </a:spcAft>
              <a:defRPr sz="1400"/>
            </a:lvl4pPr>
            <a:lvl5pPr>
              <a:lnSpc>
                <a:spcPct val="91000"/>
              </a:lnSpc>
              <a:spcBef>
                <a:spcPts val="2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de-CH"/>
              <a:t>First </a:t>
            </a:r>
            <a:r>
              <a:rPr lang="de-CH" err="1"/>
              <a:t>name</a:t>
            </a:r>
            <a:r>
              <a:rPr lang="de-CH"/>
              <a:t> Last </a:t>
            </a:r>
            <a:r>
              <a:rPr lang="de-CH" err="1"/>
              <a:t>name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7" name="RedShape">
            <a:extLst>
              <a:ext uri="{FF2B5EF4-FFF2-40B4-BE49-F238E27FC236}">
                <a16:creationId xmlns:a16="http://schemas.microsoft.com/office/drawing/2014/main" id="{B2437C07-D55B-465C-9CE9-032376E8772B}"/>
              </a:ext>
            </a:extLst>
          </p:cNvPr>
          <p:cNvSpPr>
            <a:spLocks/>
          </p:cNvSpPr>
          <p:nvPr userDrawn="1"/>
        </p:nvSpPr>
        <p:spPr bwMode="gray">
          <a:xfrm>
            <a:off x="-1" y="6391274"/>
            <a:ext cx="2628901" cy="466726"/>
          </a:xfrm>
          <a:prstGeom prst="rect">
            <a:avLst/>
          </a:pr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" name="Status" hidden="1">
            <a:extLst>
              <a:ext uri="{FF2B5EF4-FFF2-40B4-BE49-F238E27FC236}">
                <a16:creationId xmlns:a16="http://schemas.microsoft.com/office/drawing/2014/main" id="{2C20855D-2BA7-4F1C-AC0C-16A5D96603C9}"/>
              </a:ext>
            </a:extLst>
          </p:cNvPr>
          <p:cNvSpPr>
            <a:spLocks noChangeAspect="1"/>
          </p:cNvSpPr>
          <p:nvPr userDrawn="1">
            <p:custDataLst>
              <p:tags r:id="rId2"/>
            </p:custDataLst>
          </p:nvPr>
        </p:nvSpPr>
        <p:spPr>
          <a:xfrm rot="2700000">
            <a:off x="10357776" y="425271"/>
            <a:ext cx="2348000" cy="470091"/>
          </a:xfrm>
          <a:custGeom>
            <a:avLst/>
            <a:gdLst/>
            <a:ahLst/>
            <a:cxnLst/>
            <a:rect l="l" t="t" r="r" b="b"/>
            <a:pathLst>
              <a:path w="2347349" h="470028">
                <a:moveTo>
                  <a:pt x="467360" y="0"/>
                </a:moveTo>
                <a:lnTo>
                  <a:pt x="1879338" y="0"/>
                </a:lnTo>
                <a:lnTo>
                  <a:pt x="2347349" y="470028"/>
                </a:lnTo>
                <a:lnTo>
                  <a:pt x="0" y="470028"/>
                </a:lnTo>
                <a:lnTo>
                  <a:pt x="0" y="469374"/>
                </a:lnTo>
                <a:close/>
              </a:path>
            </a:pathLst>
          </a:custGeom>
          <a:solidFill>
            <a:srgbClr val="E820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>
                <a:solidFill>
                  <a:schemeClr val="bg1"/>
                </a:solidFill>
                <a:latin typeface="Frutiger Next Com" panose="020B0503040204020203" pitchFamily="34" charset="0"/>
              </a:rPr>
              <a:t>ENTWURF</a:t>
            </a:r>
          </a:p>
        </p:txBody>
      </p:sp>
    </p:spTree>
    <p:extLst>
      <p:ext uri="{BB962C8B-B14F-4D97-AF65-F5344CB8AC3E}">
        <p14:creationId xmlns:p14="http://schemas.microsoft.com/office/powerpoint/2010/main" val="3246964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14">
          <p15:clr>
            <a:srgbClr val="FBAE40"/>
          </p15:clr>
        </p15:guide>
        <p15:guide id="2" pos="2434">
          <p15:clr>
            <a:srgbClr val="FBAE40"/>
          </p15:clr>
        </p15:guide>
        <p15:guide id="3" pos="4896">
          <p15:clr>
            <a:srgbClr val="FBAE40"/>
          </p15:clr>
        </p15:guide>
        <p15:guide id="4" pos="2741">
          <p15:clr>
            <a:srgbClr val="FBAE40"/>
          </p15:clr>
        </p15:guide>
        <p15:guide id="5" pos="520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8"/>
          <p:cNvSpPr>
            <a:spLocks noGrp="1"/>
          </p:cNvSpPr>
          <p:nvPr>
            <p:ph type="title"/>
          </p:nvPr>
        </p:nvSpPr>
        <p:spPr>
          <a:xfrm>
            <a:off x="480003" y="339080"/>
            <a:ext cx="11184779" cy="85767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ts val="2981"/>
              </a:lnSpc>
              <a:defRPr sz="2794">
                <a:latin typeface="Frutiger Next Com" panose="020B0503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de-CH" noProof="0"/>
              <a:t>Titelmasterformat durch Klicken bearbeiten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525495" y="1553140"/>
            <a:ext cx="11184619" cy="457203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2142"/>
              </a:lnSpc>
              <a:spcBef>
                <a:spcPts val="0"/>
              </a:spcBef>
              <a:spcAft>
                <a:spcPts val="0"/>
              </a:spcAft>
              <a:buFont typeface="Frutiger Next Com" pitchFamily="34" charset="0"/>
              <a:buNone/>
              <a:defRPr sz="1863">
                <a:latin typeface="Frutiger Next Com" panose="020B0503040204020203" pitchFamily="34" charset="0"/>
                <a:cs typeface="Arial" panose="020B0604020202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80002" y="6559572"/>
            <a:ext cx="384043" cy="115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t" anchorCtr="0">
            <a:noAutofit/>
          </a:bodyPr>
          <a:lstStyle>
            <a:lvl1pPr marL="0" algn="l" defTabSz="851678" rtl="0" eaLnBrk="0" fontAlgn="base" latinLnBrk="0" hangingPunct="0">
              <a:spcBef>
                <a:spcPct val="0"/>
              </a:spcBef>
              <a:spcAft>
                <a:spcPct val="0"/>
              </a:spcAft>
              <a:defRPr lang="de-CH" sz="652" kern="1200" smtClean="0">
                <a:solidFill>
                  <a:schemeClr val="tx1"/>
                </a:solidFill>
                <a:latin typeface="Frutiger Next Com" panose="020B0503040204020203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fld id="{59725B75-3C1C-492A-A7AA-5D0C281FD125}" type="slidenum">
              <a:rPr lang="de-CH" noProof="1" smtClean="0"/>
              <a:pPr/>
              <a:t>‹Nr.›</a:t>
            </a:fld>
            <a:endParaRPr lang="de-CH" noProof="1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1040115" y="6567178"/>
            <a:ext cx="672074" cy="10795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algn="l" defTabSz="851678" rtl="0" eaLnBrk="1" latinLnBrk="0" hangingPunct="1">
              <a:defRPr lang="de-CH" sz="652" kern="1200" smtClean="0">
                <a:solidFill>
                  <a:schemeClr val="tx1"/>
                </a:solidFill>
                <a:latin typeface="Frutiger Next Com" panose="020B0503040204020203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10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2035461" y="6567042"/>
            <a:ext cx="4816402" cy="10772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652">
                <a:solidFill>
                  <a:schemeClr val="tx1"/>
                </a:solidFill>
                <a:latin typeface="Frutiger Next Com" panose="020B0503040204020203" pitchFamily="34" charset="0"/>
                <a:cs typeface="Arial" panose="020B0604020202020204" pitchFamily="34" charset="0"/>
              </a:defRPr>
            </a:lvl1pPr>
          </a:lstStyle>
          <a:p>
            <a:r>
              <a:rPr lang="de-CH" noProof="1"/>
              <a:t>Raiffeisen Makroblick 4Q23</a:t>
            </a:r>
          </a:p>
        </p:txBody>
      </p:sp>
    </p:spTree>
    <p:extLst>
      <p:ext uri="{BB962C8B-B14F-4D97-AF65-F5344CB8AC3E}">
        <p14:creationId xmlns:p14="http://schemas.microsoft.com/office/powerpoint/2010/main" val="25800054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D05A264-E220-174C-A630-4E14886904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/>
              <a:t>Titel Video</a:t>
            </a:r>
          </a:p>
        </p:txBody>
      </p:sp>
      <p:sp>
        <p:nvSpPr>
          <p:cNvPr id="6" name="Medienplatzhalter 5">
            <a:extLst>
              <a:ext uri="{FF2B5EF4-FFF2-40B4-BE49-F238E27FC236}">
                <a16:creationId xmlns:a16="http://schemas.microsoft.com/office/drawing/2014/main" id="{F3719500-7637-714A-B88E-1E672061265E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2425375" y="1815150"/>
            <a:ext cx="7341250" cy="4242750"/>
          </a:xfrm>
        </p:spPr>
        <p:txBody>
          <a:bodyPr/>
          <a:lstStyle/>
          <a:p>
            <a:r>
              <a:rPr lang="de-DE"/>
              <a:t>Mediaclip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493085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Bild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E6D06B-92A7-5248-A828-0C851D200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9951" y="909075"/>
            <a:ext cx="7740650" cy="713259"/>
          </a:xfrm>
        </p:spPr>
        <p:txBody>
          <a:bodyPr>
            <a:noAutofit/>
          </a:bodyPr>
          <a:lstStyle/>
          <a:p>
            <a:r>
              <a:rPr lang="de-CH"/>
              <a:t>Titel</a:t>
            </a:r>
            <a:endParaRPr lang="de-D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EEBA5A28-38FE-9647-86E6-9DE99D9D966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85266" y="1920911"/>
            <a:ext cx="5029760" cy="4315836"/>
          </a:xfrm>
        </p:spPr>
        <p:txBody>
          <a:bodyPr>
            <a:noAutofit/>
          </a:bodyPr>
          <a:lstStyle>
            <a:lvl1pPr>
              <a:spcAft>
                <a:spcPts val="3000"/>
              </a:spcAft>
              <a:defRPr/>
            </a:lvl1pPr>
            <a:lvl2pPr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>
              <a:lnSpc>
                <a:spcPts val="2400"/>
              </a:lnSpc>
              <a:spcAft>
                <a:spcPts val="800"/>
              </a:spcAft>
              <a:buFontTx/>
              <a:buNone/>
              <a:tabLst/>
              <a:defRPr/>
            </a:lvl3pPr>
            <a:lvl4pPr>
              <a:spcAft>
                <a:spcPts val="800"/>
              </a:spcAft>
              <a:defRPr/>
            </a:lvl4pPr>
            <a:lvl5pPr marL="355600" indent="0">
              <a:spcAft>
                <a:spcPts val="600"/>
              </a:spcAft>
              <a:buFontTx/>
              <a:buNone/>
              <a:tabLst/>
              <a:defRPr/>
            </a:lvl5pPr>
          </a:lstStyle>
          <a:p>
            <a:pPr lvl="0"/>
            <a:r>
              <a:rPr lang="de-DE"/>
              <a:t>Lead</a:t>
            </a:r>
          </a:p>
          <a:p>
            <a:pPr lvl="1"/>
            <a:r>
              <a:rPr lang="de-DE"/>
              <a:t>Aufzählung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Bildplatzhalter 5">
            <a:extLst>
              <a:ext uri="{FF2B5EF4-FFF2-40B4-BE49-F238E27FC236}">
                <a16:creationId xmlns:a16="http://schemas.microsoft.com/office/drawing/2014/main" id="{851D0DFF-8E81-6940-BEAD-45896E48193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82000" y="2005013"/>
            <a:ext cx="5029200" cy="4052887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5757778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folie Bi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AB916AFC-E685-F04A-BFC1-9BFCC76F5EB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5824" y="2005013"/>
            <a:ext cx="7731125" cy="4052887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E6D06B-92A7-5248-A828-0C851D200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CH"/>
              <a:t>Titel</a:t>
            </a:r>
            <a:endParaRPr lang="de-DE"/>
          </a:p>
        </p:txBody>
      </p:sp>
      <p:sp>
        <p:nvSpPr>
          <p:cNvPr id="10" name="Untertitel 2">
            <a:extLst>
              <a:ext uri="{FF2B5EF4-FFF2-40B4-BE49-F238E27FC236}">
                <a16:creationId xmlns:a16="http://schemas.microsoft.com/office/drawing/2014/main" id="{B3787506-021E-C64D-9512-C0EF1FCFD1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rot="16200000">
            <a:off x="7288697" y="4522494"/>
            <a:ext cx="2932091" cy="161581"/>
          </a:xfrm>
        </p:spPr>
        <p:txBody>
          <a:bodyPr anchor="b">
            <a:noAutofit/>
          </a:bodyPr>
          <a:lstStyle>
            <a:lvl1pPr marL="0" indent="0" algn="l" fontAlgn="t">
              <a:spcAft>
                <a:spcPts val="500"/>
              </a:spcAft>
              <a:buNone/>
              <a:defRPr sz="800" b="0" i="0" cap="none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7467613-A7BD-624E-BE77-99063935550F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975726" y="1912900"/>
            <a:ext cx="2343150" cy="3712159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473404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folie Kreisdiagrem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E6D06B-92A7-5248-A828-0C851D2001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de-CH"/>
              <a:t>Thema</a:t>
            </a:r>
            <a:endParaRPr lang="de-DE"/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CA3223D3-FB40-004D-B7ED-C71FF67EC819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328957128"/>
              </p:ext>
            </p:extLst>
          </p:nvPr>
        </p:nvGraphicFramePr>
        <p:xfrm>
          <a:off x="4637359" y="1583556"/>
          <a:ext cx="6963218" cy="4699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A9977395-2A1D-364C-8160-180C02830A4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85266" y="1920911"/>
            <a:ext cx="5029760" cy="4315836"/>
          </a:xfrm>
        </p:spPr>
        <p:txBody>
          <a:bodyPr>
            <a:noAutofit/>
          </a:bodyPr>
          <a:lstStyle>
            <a:lvl1pPr>
              <a:spcAft>
                <a:spcPts val="3000"/>
              </a:spcAft>
              <a:defRPr/>
            </a:lvl1pPr>
            <a:lvl2pPr>
              <a:defRPr b="0" i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>
              <a:lnSpc>
                <a:spcPts val="2400"/>
              </a:lnSpc>
              <a:spcAft>
                <a:spcPts val="800"/>
              </a:spcAft>
              <a:buFontTx/>
              <a:buNone/>
              <a:tabLst/>
              <a:defRPr/>
            </a:lvl3pPr>
            <a:lvl4pPr>
              <a:spcAft>
                <a:spcPts val="800"/>
              </a:spcAft>
              <a:defRPr/>
            </a:lvl4pPr>
            <a:lvl5pPr marL="355600" indent="0">
              <a:spcAft>
                <a:spcPts val="600"/>
              </a:spcAft>
              <a:buFontTx/>
              <a:buNone/>
              <a:tabLst/>
              <a:defRPr/>
            </a:lvl5pPr>
          </a:lstStyle>
          <a:p>
            <a:pPr lvl="0"/>
            <a:r>
              <a:rPr lang="de-DE"/>
              <a:t>Lead</a:t>
            </a:r>
          </a:p>
          <a:p>
            <a:pPr lvl="1"/>
            <a:r>
              <a:rPr lang="de-DE"/>
              <a:t>Aufzählung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944232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theme" Target="../theme/theme3.xml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334145A-5DB7-154A-9370-17848C1DB5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2255" y="906839"/>
            <a:ext cx="10446620" cy="71325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CH"/>
              <a:t>Titel</a:t>
            </a:r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135D51-82C2-8346-B11C-78134F62A4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84180" y="1909072"/>
            <a:ext cx="10452786" cy="430501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Fußzeilenplatzhalter 4">
            <a:extLst>
              <a:ext uri="{FF2B5EF4-FFF2-40B4-BE49-F238E27FC236}">
                <a16:creationId xmlns:a16="http://schemas.microsoft.com/office/drawing/2014/main" id="{452A3C52-BEFF-9B42-B2D9-CB85F264AE15}"/>
              </a:ext>
            </a:extLst>
          </p:cNvPr>
          <p:cNvSpPr txBox="1">
            <a:spLocks/>
          </p:cNvSpPr>
          <p:nvPr userDrawn="1"/>
        </p:nvSpPr>
        <p:spPr>
          <a:xfrm>
            <a:off x="5031938" y="6493047"/>
            <a:ext cx="1232013" cy="1554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/>
              <a:t>25. März 2025</a:t>
            </a:r>
          </a:p>
        </p:txBody>
      </p:sp>
      <p:sp>
        <p:nvSpPr>
          <p:cNvPr id="28" name="Fußzeilenplatzhalter 4">
            <a:extLst>
              <a:ext uri="{FF2B5EF4-FFF2-40B4-BE49-F238E27FC236}">
                <a16:creationId xmlns:a16="http://schemas.microsoft.com/office/drawing/2014/main" id="{5C01355E-1CCD-A145-83C1-5C4BFF1488FB}"/>
              </a:ext>
            </a:extLst>
          </p:cNvPr>
          <p:cNvSpPr txBox="1">
            <a:spLocks/>
          </p:cNvSpPr>
          <p:nvPr userDrawn="1"/>
        </p:nvSpPr>
        <p:spPr>
          <a:xfrm>
            <a:off x="1238251" y="6493047"/>
            <a:ext cx="3793687" cy="15544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Handelskammer beider Basel  |  </a:t>
            </a:r>
            <a:r>
              <a:rPr lang="de-DE" err="1"/>
              <a:t>Unternehmer!nnen-Treff</a:t>
            </a:r>
            <a:r>
              <a:rPr lang="de-DE"/>
              <a:t> KAMP</a:t>
            </a:r>
          </a:p>
        </p:txBody>
      </p:sp>
    </p:spTree>
    <p:extLst>
      <p:ext uri="{BB962C8B-B14F-4D97-AF65-F5344CB8AC3E}">
        <p14:creationId xmlns:p14="http://schemas.microsoft.com/office/powerpoint/2010/main" val="1759221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729" r:id="rId15"/>
    <p:sldLayoutId id="2147483730" r:id="rId1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spcAft>
          <a:spcPts val="3000"/>
        </a:spcAft>
        <a:buNone/>
        <a:defRPr sz="4000" b="1" i="0" kern="1200" cap="all" baseline="0">
          <a:solidFill>
            <a:schemeClr val="accent1"/>
          </a:solidFill>
          <a:latin typeface="Arial Black" panose="020B0604020202020204" pitchFamily="34" charset="0"/>
          <a:ea typeface="Verdana" panose="020B0604030504040204" pitchFamily="34" charset="0"/>
          <a:cs typeface="Arial Black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ts val="3500"/>
        </a:lnSpc>
        <a:spcBef>
          <a:spcPts val="0"/>
        </a:spcBef>
        <a:spcAft>
          <a:spcPts val="2000"/>
        </a:spcAft>
        <a:buFontTx/>
        <a:buNone/>
        <a:defRPr sz="2600" b="1" i="0" kern="1200" cap="none" baseline="0">
          <a:solidFill>
            <a:schemeClr val="tx1"/>
          </a:solidFill>
          <a:latin typeface="+mn-lt"/>
          <a:ea typeface="Verdana" panose="020B0604030504040204" pitchFamily="34" charset="0"/>
          <a:cs typeface="Arial Black" panose="020B0604020202020204" pitchFamily="34" charset="0"/>
        </a:defRPr>
      </a:lvl1pPr>
      <a:lvl2pPr marL="358775" indent="-358775" algn="l" defTabSz="914400" rtl="0" eaLnBrk="1" latinLnBrk="0" hangingPunct="1">
        <a:lnSpc>
          <a:spcPts val="2400"/>
        </a:lnSpc>
        <a:spcBef>
          <a:spcPts val="0"/>
        </a:spcBef>
        <a:spcAft>
          <a:spcPts val="800"/>
        </a:spcAft>
        <a:buSzPct val="110000"/>
        <a:buFontTx/>
        <a:buBlip>
          <a:blip r:embed="rId18"/>
        </a:buBlip>
        <a:tabLst/>
        <a:defRPr sz="1800" b="0" i="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0" indent="0" algn="l" defTabSz="914400" rtl="0" eaLnBrk="1" latinLnBrk="0" hangingPunct="1">
        <a:lnSpc>
          <a:spcPts val="2600"/>
        </a:lnSpc>
        <a:spcBef>
          <a:spcPts val="0"/>
        </a:spcBef>
        <a:spcAft>
          <a:spcPts val="800"/>
        </a:spcAft>
        <a:buSzPct val="110000"/>
        <a:buFontTx/>
        <a:buNone/>
        <a:tabLst/>
        <a:defRPr sz="18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645750" indent="-285750" algn="l" defTabSz="914400" rtl="0" eaLnBrk="1" latinLnBrk="0" hangingPunct="1">
        <a:lnSpc>
          <a:spcPts val="2580"/>
        </a:lnSpc>
        <a:spcBef>
          <a:spcPts val="0"/>
        </a:spcBef>
        <a:spcAft>
          <a:spcPts val="2000"/>
        </a:spcAft>
        <a:buFontTx/>
        <a:buBlip>
          <a:blip r:embed="rId18"/>
        </a:buBlip>
        <a:defRPr sz="14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367225" marR="0" indent="0" algn="l" defTabSz="914400" rtl="0" eaLnBrk="1" fontAlgn="auto" latinLnBrk="0" hangingPunct="1">
        <a:lnSpc>
          <a:spcPts val="1880"/>
        </a:lnSpc>
        <a:spcBef>
          <a:spcPts val="0"/>
        </a:spcBef>
        <a:spcAft>
          <a:spcPts val="600"/>
        </a:spcAft>
        <a:buClrTx/>
        <a:buSzPct val="110000"/>
        <a:buFontTx/>
        <a:buNone/>
        <a:tabLst/>
        <a:defRPr sz="1400" b="0" i="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3" orient="horz" pos="3816">
          <p15:clr>
            <a:srgbClr val="F26B43"/>
          </p15:clr>
        </p15:guide>
        <p15:guide id="4" orient="horz" pos="164">
          <p15:clr>
            <a:srgbClr val="F26B43"/>
          </p15:clr>
        </p15:guide>
        <p15:guide id="5" orient="horz" pos="908">
          <p15:clr>
            <a:srgbClr val="F26B43"/>
          </p15:clr>
        </p15:guide>
        <p15:guide id="6" pos="554">
          <p15:clr>
            <a:srgbClr val="F26B43"/>
          </p15:clr>
        </p15:guide>
        <p15:guide id="7" pos="3726">
          <p15:clr>
            <a:srgbClr val="F26B43"/>
          </p15:clr>
        </p15:guide>
        <p15:guide id="8" pos="3954">
          <p15:clr>
            <a:srgbClr val="F26B43"/>
          </p15:clr>
        </p15:guide>
        <p15:guide id="9" pos="5541">
          <p15:clr>
            <a:srgbClr val="F26B43"/>
          </p15:clr>
        </p15:guide>
        <p15:guide id="12" pos="2139">
          <p15:clr>
            <a:srgbClr val="F26B43"/>
          </p15:clr>
        </p15:guide>
        <p15:guide id="13" pos="2026">
          <p15:clr>
            <a:srgbClr val="F26B43"/>
          </p15:clr>
        </p15:guide>
        <p15:guide id="14" pos="2252">
          <p15:clr>
            <a:srgbClr val="F26B43"/>
          </p15:clr>
        </p15:guide>
        <p15:guide id="15" pos="2082">
          <p15:clr>
            <a:srgbClr val="F26B43"/>
          </p15:clr>
        </p15:guide>
        <p15:guide id="16" pos="2196">
          <p15:clr>
            <a:srgbClr val="F26B43"/>
          </p15:clr>
        </p15:guide>
        <p15:guide id="17" pos="5654">
          <p15:clr>
            <a:srgbClr val="F26B43"/>
          </p15:clr>
        </p15:guide>
        <p15:guide id="19" pos="5428">
          <p15:clr>
            <a:srgbClr val="F26B43"/>
          </p15:clr>
        </p15:guide>
        <p15:guide id="20" pos="5484">
          <p15:clr>
            <a:srgbClr val="F26B43"/>
          </p15:clr>
        </p15:guide>
        <p15:guide id="21" pos="5598">
          <p15:clr>
            <a:srgbClr val="F26B43"/>
          </p15:clr>
        </p15:guide>
        <p15:guide id="22" orient="horz" pos="4156">
          <p15:clr>
            <a:srgbClr val="F26B43"/>
          </p15:clr>
        </p15:guide>
        <p15:guide id="23" pos="780">
          <p15:clr>
            <a:srgbClr val="F26B43"/>
          </p15:clr>
        </p15:guide>
        <p15:guide id="24" orient="horz" pos="300">
          <p15:clr>
            <a:srgbClr val="F26B43"/>
          </p15:clr>
        </p15:guide>
        <p15:guide id="25" pos="7130">
          <p15:clr>
            <a:srgbClr val="F26B43"/>
          </p15:clr>
        </p15:guide>
        <p15:guide id="26" orient="horz" pos="3067">
          <p15:clr>
            <a:srgbClr val="F26B43"/>
          </p15:clr>
        </p15:guide>
        <p15:guide id="27" orient="horz" pos="640">
          <p15:clr>
            <a:srgbClr val="F26B43"/>
          </p15:clr>
        </p15:guide>
        <p15:guide id="28" orient="horz" pos="125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CBCA28C-A676-386D-84FC-24C2BFE07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50491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606" imgH="608" progId="TCLayout.ActiveDocument.1">
                  <p:embed/>
                </p:oleObj>
              </mc:Choice>
              <mc:Fallback>
                <p:oleObj name="think-cell Slide" r:id="rId10" imgW="606" imgH="60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BCA28C-A676-386D-84FC-24C2BFE07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030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BB6CE73-56BB-4363-92D1-DE984211B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4" y="401700"/>
            <a:ext cx="9325490" cy="922275"/>
          </a:xfrm>
          <a:prstGeom prst="rect">
            <a:avLst/>
          </a:prstGeom>
        </p:spPr>
        <p:txBody>
          <a:bodyPr vert="horz" lIns="25200" tIns="0" rIns="0" bIns="0" rtlCol="0" anchor="t" anchorCtr="0">
            <a:noAutofit/>
          </a:bodyPr>
          <a:lstStyle/>
          <a:p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D42BB5-497F-4EC2-AFC4-AF35B22355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1600201"/>
            <a:ext cx="9325490" cy="43497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/>
              <a:t>Click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edit</a:t>
            </a:r>
            <a:r>
              <a:rPr lang="de-CH"/>
              <a:t> Master </a:t>
            </a:r>
            <a:r>
              <a:rPr lang="de-CH" err="1"/>
              <a:t>text</a:t>
            </a:r>
            <a:r>
              <a:rPr lang="de-CH"/>
              <a:t> </a:t>
            </a:r>
            <a:r>
              <a:rPr lang="de-CH" err="1"/>
              <a:t>styles</a:t>
            </a:r>
            <a:endParaRPr lang="de-CH"/>
          </a:p>
          <a:p>
            <a:pPr lvl="1"/>
            <a:r>
              <a:rPr lang="de-CH"/>
              <a:t>Second </a:t>
            </a:r>
            <a:r>
              <a:rPr lang="de-CH" err="1"/>
              <a:t>level</a:t>
            </a:r>
            <a:endParaRPr lang="de-CH"/>
          </a:p>
          <a:p>
            <a:pPr lvl="2"/>
            <a:r>
              <a:rPr lang="de-CH"/>
              <a:t>Third </a:t>
            </a:r>
            <a:r>
              <a:rPr lang="de-CH" err="1"/>
              <a:t>level</a:t>
            </a:r>
            <a:endParaRPr lang="de-CH"/>
          </a:p>
          <a:p>
            <a:pPr lvl="3"/>
            <a:r>
              <a:rPr lang="de-CH" err="1"/>
              <a:t>Four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  <a:p>
            <a:pPr lvl="4"/>
            <a:r>
              <a:rPr lang="de-CH" err="1"/>
              <a:t>Fifth</a:t>
            </a:r>
            <a:r>
              <a:rPr lang="de-CH"/>
              <a:t> </a:t>
            </a:r>
            <a:r>
              <a:rPr lang="de-CH" err="1"/>
              <a:t>level</a:t>
            </a:r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1BD55-A952-44BE-A69A-82FEF7B9B9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97740" y="6519600"/>
            <a:ext cx="8870666" cy="13096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CH"/>
              <a:t>Raiffeisen Makroblick 4Q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CEE70B-0C4F-4CC8-B66A-5B22014AF1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2913" y="6519600"/>
            <a:ext cx="390525" cy="130969"/>
          </a:xfrm>
          <a:prstGeom prst="rect">
            <a:avLst/>
          </a:prstGeom>
        </p:spPr>
        <p:txBody>
          <a:bodyPr vert="horz" lIns="25200" tIns="0" rIns="0" bIns="0" rtlCol="0" anchor="t" anchorCtr="0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fld id="{1D08FE05-757F-4BC8-9200-E75530F4FC22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048626F8-3DD8-4C55-B0FB-0D0562E08CA3}"/>
              </a:ext>
            </a:extLst>
          </p:cNvPr>
          <p:cNvPicPr>
            <a:picLocks/>
          </p:cNvPicPr>
          <p:nvPr userDrawn="1">
            <p:custDataLst>
              <p:tags r:id="rId36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4967" y="6465714"/>
            <a:ext cx="1080000" cy="15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106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</p:sldLayoutIdLst>
  <p:hf hdr="0" dt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3400" indent="0" algn="l" defTabSz="914400" rtl="0" eaLnBrk="1" latinLnBrk="0" hangingPunct="1">
        <a:lnSpc>
          <a:spcPts val="24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j-lt"/>
          <a:ea typeface="+mn-ea"/>
          <a:cs typeface="+mn-cs"/>
        </a:defRPr>
      </a:lvl1pPr>
      <a:lvl2pPr marL="309563" indent="-261938" algn="l" defTabSz="914400" rtl="0" eaLnBrk="1" latinLnBrk="0" hangingPunct="1">
        <a:lnSpc>
          <a:spcPts val="24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2pPr>
      <a:lvl3pPr marL="597600" indent="-262800" algn="l" defTabSz="914400" rtl="0" eaLnBrk="1" latinLnBrk="0" hangingPunct="1">
        <a:lnSpc>
          <a:spcPts val="24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885600" indent="-262800" algn="l" defTabSz="914400" rtl="0" eaLnBrk="1" latinLnBrk="0" hangingPunct="1">
        <a:lnSpc>
          <a:spcPts val="24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1173600" indent="-262800" algn="l" defTabSz="914400" rtl="0" eaLnBrk="1" latinLnBrk="0" hangingPunct="1">
        <a:lnSpc>
          <a:spcPts val="24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1461600" indent="-262800" algn="l" defTabSz="914400" rtl="0" eaLnBrk="1" latinLnBrk="0" hangingPunct="1">
        <a:lnSpc>
          <a:spcPts val="24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1749600" indent="-262800" algn="l" defTabSz="914400" rtl="0" eaLnBrk="1" latinLnBrk="0" hangingPunct="1">
        <a:lnSpc>
          <a:spcPts val="24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7pPr>
      <a:lvl8pPr marL="2037600" indent="-262800" algn="l" defTabSz="914400" rtl="0" eaLnBrk="1" latinLnBrk="0" hangingPunct="1">
        <a:lnSpc>
          <a:spcPts val="24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8pPr>
      <a:lvl9pPr marL="2325600" indent="-262800" algn="l" defTabSz="914400" rtl="0" eaLnBrk="1" latinLnBrk="0" hangingPunct="1">
        <a:lnSpc>
          <a:spcPts val="24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2">
          <p15:clr>
            <a:srgbClr val="F26B43"/>
          </p15:clr>
        </p15:guide>
        <p15:guide id="2" orient="horz" pos="1008">
          <p15:clr>
            <a:srgbClr val="F26B43"/>
          </p15:clr>
        </p15:guide>
        <p15:guide id="3" orient="horz" pos="3748">
          <p15:clr>
            <a:srgbClr val="F26B43"/>
          </p15:clr>
        </p15:guide>
        <p15:guide id="4" pos="279">
          <p15:clr>
            <a:srgbClr val="F26B43"/>
          </p15:clr>
        </p15:guide>
        <p15:guide id="5" pos="7386">
          <p15:clr>
            <a:srgbClr val="F26B43"/>
          </p15:clr>
        </p15:guide>
        <p15:guide id="6" orient="horz" pos="41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hyperlink" Target="mailto:info@h2-hub.swiss" TargetMode="External"/><Relationship Id="rId7" Type="http://schemas.openxmlformats.org/officeDocument/2006/relationships/image" Target="../media/image24.png"/><Relationship Id="rId12" Type="http://schemas.openxmlformats.org/officeDocument/2006/relationships/image" Target="../media/image29.jpe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jpe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1.png"/><Relationship Id="rId10" Type="http://schemas.openxmlformats.org/officeDocument/2006/relationships/image" Target="../media/image27.png"/><Relationship Id="rId4" Type="http://schemas.openxmlformats.org/officeDocument/2006/relationships/hyperlink" Target="https://www.h2-hub.swiss/" TargetMode="External"/><Relationship Id="rId9" Type="http://schemas.openxmlformats.org/officeDocument/2006/relationships/image" Target="../media/image26.emf"/><Relationship Id="rId1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handelskammer-beider-basel/" TargetMode="External"/><Relationship Id="rId2" Type="http://schemas.openxmlformats.org/officeDocument/2006/relationships/hyperlink" Target="https://www.facebook.com/handelskammerbeiderbasel/" TargetMode="Externa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1.jpeg"/><Relationship Id="rId5" Type="http://schemas.openxmlformats.org/officeDocument/2006/relationships/hyperlink" Target="https://twitter.com/i/flow/login?redirect_after_login=%252F" TargetMode="External"/><Relationship Id="rId4" Type="http://schemas.openxmlformats.org/officeDocument/2006/relationships/hyperlink" Target="https://www.youtube.com/channel/UC-LOXo2t5l3tfbfijXK6F-Q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3E87AB_59B3BAE8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6FE281-510A-134D-B0DA-B139B483A9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5162" y="1383552"/>
            <a:ext cx="10574405" cy="2947232"/>
          </a:xfrm>
        </p:spPr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de-CH" b="0" dirty="0" err="1">
                <a:latin typeface="Arial Black"/>
                <a:ea typeface="Verdana"/>
              </a:rPr>
              <a:t>UnternehmensstammKAMP</a:t>
            </a:r>
            <a:endParaRPr lang="de-CH" b="0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9BF49FF-D6E9-9345-A78B-0A6F5FCB658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79475" y="4350461"/>
            <a:ext cx="11160394" cy="1298255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de-CH" b="0" dirty="0" err="1">
                <a:latin typeface="Arial Black"/>
                <a:ea typeface="Verdana"/>
              </a:rPr>
              <a:t>Klixa</a:t>
            </a:r>
            <a:r>
              <a:rPr lang="de-CH" b="0" dirty="0">
                <a:latin typeface="Arial Black"/>
                <a:ea typeface="Verdana"/>
              </a:rPr>
              <a:t> IT </a:t>
            </a:r>
            <a:r>
              <a:rPr lang="de-CH" b="0" dirty="0" err="1">
                <a:latin typeface="Arial Black"/>
                <a:ea typeface="Verdana"/>
              </a:rPr>
              <a:t>gmbH</a:t>
            </a:r>
            <a:r>
              <a:rPr lang="de-CH" b="0" dirty="0">
                <a:latin typeface="Arial Black"/>
                <a:ea typeface="Verdana"/>
              </a:rPr>
              <a:t>, Muttenz</a:t>
            </a:r>
            <a:endParaRPr lang="de-CH" b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92D729A-431E-EC4E-89C9-2936C08BAC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lvl="3"/>
            <a:r>
              <a:rPr lang="de-DE" dirty="0">
                <a:latin typeface="Verdana"/>
                <a:ea typeface="Verdana"/>
              </a:rPr>
              <a:t>25. März 2025</a:t>
            </a:r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539B0D8-58DD-40F8-5803-759B1F9685A2}"/>
              </a:ext>
            </a:extLst>
          </p:cNvPr>
          <p:cNvSpPr txBox="1"/>
          <p:nvPr/>
        </p:nvSpPr>
        <p:spPr>
          <a:xfrm>
            <a:off x="806017" y="5702412"/>
            <a:ext cx="1005603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400" b="1" dirty="0"/>
              <a:t>Koordination Unternehmensstamm KAMP: Thomas Steiger, MÜLLER Elektrotechnik Gmb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96992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36470"/>
    </mc:Choice>
    <mc:Fallback xmlns="">
      <p:transition spd="slow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BCC15C87-2BB2-4E55-627A-798DDDD203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F2C328E-15B0-D559-CD02-2C64FE53F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0</a:t>
            </a:fld>
            <a:endParaRPr lang="en-US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4FCA3A5-69CD-BE77-A446-0E390824ABE4}"/>
              </a:ext>
            </a:extLst>
          </p:cNvPr>
          <p:cNvSpPr txBox="1"/>
          <p:nvPr/>
        </p:nvSpPr>
        <p:spPr>
          <a:xfrm>
            <a:off x="775863" y="2540735"/>
            <a:ext cx="9631246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sz="11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Am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6. November 2025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wird die Handelskammer beider Basel in Kooperation mit 3H2 und weiteren Stakeholder aus Industrie und Wirtschaft zum </a:t>
            </a:r>
            <a:r>
              <a:rPr lang="de-DE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Trinationale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 Wasserstoff Forum in Basel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einladen.</a:t>
            </a:r>
          </a:p>
          <a:p>
            <a:endParaRPr lang="de-DE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de-DE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Könnte Wasserstoff oder seine Derivate für Sie als Energieträger in Frage kommen. Melden Sie sich unverbindlich bei uns. </a:t>
            </a:r>
            <a:r>
              <a:rPr lang="de-DE" sz="1400" b="1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h2-hub.swiss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  <a:p>
            <a:endParaRPr kumimoji="0" lang="de-DE" sz="1400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kumimoji="0" lang="de-DE" sz="14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Mehr über uns unter </a:t>
            </a:r>
            <a:r>
              <a:rPr kumimoji="0" lang="de-DE" sz="1400" b="1" i="0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h2-hub.swiss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  <a:endParaRPr kumimoji="0" lang="de-CH" sz="1400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de-DE" sz="1200" dirty="0"/>
          </a:p>
          <a:p>
            <a:endParaRPr lang="de-DE" sz="1200" dirty="0"/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5D7F1115-DF9A-6294-F3D8-2F46C9F45BBB}"/>
              </a:ext>
            </a:extLst>
          </p:cNvPr>
          <p:cNvGrpSpPr/>
          <p:nvPr/>
        </p:nvGrpSpPr>
        <p:grpSpPr>
          <a:xfrm>
            <a:off x="646997" y="5001097"/>
            <a:ext cx="5812089" cy="453930"/>
            <a:chOff x="709317" y="5361523"/>
            <a:chExt cx="5812089" cy="453930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F253051E-8F9D-8009-0BB6-55D0002D48A6}"/>
                </a:ext>
              </a:extLst>
            </p:cNvPr>
            <p:cNvGrpSpPr/>
            <p:nvPr/>
          </p:nvGrpSpPr>
          <p:grpSpPr>
            <a:xfrm>
              <a:off x="1741028" y="5361523"/>
              <a:ext cx="4780378" cy="409559"/>
              <a:chOff x="763626" y="4528489"/>
              <a:chExt cx="5759426" cy="425565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890ABA10-9E18-25B7-5702-BED674C097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783032" y="4627111"/>
                <a:ext cx="1740020" cy="240874"/>
              </a:xfrm>
              <a:prstGeom prst="rect">
                <a:avLst/>
              </a:prstGeom>
            </p:spPr>
          </p:pic>
          <p:pic>
            <p:nvPicPr>
              <p:cNvPr id="19" name="Grafik 18" descr="Ein Bild, das Schrift, Logo, Grafiken, Symbol enthält.&#10;&#10;Automatisch generierte Beschreibung">
                <a:extLst>
                  <a:ext uri="{FF2B5EF4-FFF2-40B4-BE49-F238E27FC236}">
                    <a16:creationId xmlns:a16="http://schemas.microsoft.com/office/drawing/2014/main" id="{0BD90BC3-F6E8-F4F1-E0D6-8CD4FC2C85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29009" y="4627111"/>
                <a:ext cx="1100656" cy="286171"/>
              </a:xfrm>
              <a:prstGeom prst="rect">
                <a:avLst/>
              </a:prstGeom>
            </p:spPr>
          </p:pic>
          <p:pic>
            <p:nvPicPr>
              <p:cNvPr id="20" name="Picture 4" descr="Arbeitsgemeinschaft Binnenhäfen Südwest - Schweizerische Rheinhäfen">
                <a:extLst>
                  <a:ext uri="{FF2B5EF4-FFF2-40B4-BE49-F238E27FC236}">
                    <a16:creationId xmlns:a16="http://schemas.microsoft.com/office/drawing/2014/main" id="{1E42590A-5A31-7F42-87F4-7F9C302CE7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76672" y="4568230"/>
                <a:ext cx="1051111" cy="3252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id="{A2D3E431-544B-93CE-3BCA-6A6B69645F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789052" y="4528489"/>
                <a:ext cx="586590" cy="425565"/>
              </a:xfrm>
              <a:prstGeom prst="rect">
                <a:avLst/>
              </a:prstGeom>
            </p:spPr>
          </p:pic>
          <p:pic>
            <p:nvPicPr>
              <p:cNvPr id="22" name="Grafik 21">
                <a:extLst>
                  <a:ext uri="{FF2B5EF4-FFF2-40B4-BE49-F238E27FC236}">
                    <a16:creationId xmlns:a16="http://schemas.microsoft.com/office/drawing/2014/main" id="{16DCFF73-4A71-29B2-BAF5-42CFC89C36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763626" y="4536914"/>
                <a:ext cx="607092" cy="380199"/>
              </a:xfrm>
              <a:prstGeom prst="rect">
                <a:avLst/>
              </a:prstGeom>
            </p:spPr>
          </p:pic>
        </p:grp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6F73C629-84F9-A0FB-A8FC-5CBA45946B6A}"/>
                </a:ext>
              </a:extLst>
            </p:cNvPr>
            <p:cNvSpPr txBox="1"/>
            <p:nvPr/>
          </p:nvSpPr>
          <p:spPr>
            <a:xfrm>
              <a:off x="709317" y="5399955"/>
              <a:ext cx="94143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latin typeface="Verdana" panose="020B0604030504040204" pitchFamily="34" charset="0"/>
                  <a:ea typeface="Verdana" panose="020B0604030504040204" pitchFamily="34" charset="0"/>
                </a:rPr>
                <a:t>Träger &amp; Mitglieder</a:t>
              </a:r>
              <a:endParaRPr lang="de-CH" sz="1000" b="1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pic>
        <p:nvPicPr>
          <p:cNvPr id="42" name="Picture 4" descr="Datei:Logo GVM.svg – Wikipedia">
            <a:extLst>
              <a:ext uri="{FF2B5EF4-FFF2-40B4-BE49-F238E27FC236}">
                <a16:creationId xmlns:a16="http://schemas.microsoft.com/office/drawing/2014/main" id="{E3BA6198-C8F3-14F6-31C2-959C2BD22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2350" y="4998591"/>
            <a:ext cx="1634274" cy="372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0" descr="Trägerschaftsverein Setzwerk Arlesheim - Kontakt">
            <a:extLst>
              <a:ext uri="{FF2B5EF4-FFF2-40B4-BE49-F238E27FC236}">
                <a16:creationId xmlns:a16="http://schemas.microsoft.com/office/drawing/2014/main" id="{5F31EAB1-78E3-ED41-6C69-AE426A71B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8346" y="5039354"/>
            <a:ext cx="832568" cy="365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4" descr="Endress+Hauser (Deutschland) GmbH+Co. KG - Weil am Rhein, Deutschland">
            <a:extLst>
              <a:ext uri="{FF2B5EF4-FFF2-40B4-BE49-F238E27FC236}">
                <a16:creationId xmlns:a16="http://schemas.microsoft.com/office/drawing/2014/main" id="{8E1A3218-FAE2-16C7-6630-60C10A0B06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2514" y="5009216"/>
            <a:ext cx="832568" cy="509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A1E9E836-6220-B457-CD5A-6D69222A597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499888" y="5012034"/>
            <a:ext cx="689362" cy="377851"/>
          </a:xfrm>
          <a:prstGeom prst="rect">
            <a:avLst/>
          </a:prstGeom>
        </p:spPr>
      </p:pic>
      <p:pic>
        <p:nvPicPr>
          <p:cNvPr id="2" name="Grafik 1" descr="Ein Bild, das Schrift, Text, Grafiken, Design enthält.&#10;&#10;Automatisch generierte Beschreibung">
            <a:extLst>
              <a:ext uri="{FF2B5EF4-FFF2-40B4-BE49-F238E27FC236}">
                <a16:creationId xmlns:a16="http://schemas.microsoft.com/office/drawing/2014/main" id="{2475EE88-79D2-59AE-B99E-36FEA5E022A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614522" y="660949"/>
            <a:ext cx="2420470" cy="53568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1685640-D63E-5C86-5E32-71F30B183830}"/>
              </a:ext>
            </a:extLst>
          </p:cNvPr>
          <p:cNvSpPr txBox="1"/>
          <p:nvPr/>
        </p:nvSpPr>
        <p:spPr>
          <a:xfrm>
            <a:off x="775863" y="1565435"/>
            <a:ext cx="9524411" cy="83099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 err="1">
                <a:solidFill>
                  <a:srgbClr val="00B0F0"/>
                </a:solidFill>
                <a:ea typeface="Verdana"/>
              </a:rPr>
              <a:t>Wasserstoff</a:t>
            </a:r>
            <a:r>
              <a:rPr lang="en-US" sz="2400" b="1" dirty="0">
                <a:solidFill>
                  <a:srgbClr val="00B0F0"/>
                </a:solidFill>
                <a:ea typeface="Verdana"/>
              </a:rPr>
              <a:t> und seine Derivate -</a:t>
            </a:r>
          </a:p>
          <a:p>
            <a:r>
              <a:rPr lang="en-US" sz="2400" b="1" dirty="0" err="1">
                <a:solidFill>
                  <a:srgbClr val="00B0F0"/>
                </a:solidFill>
                <a:ea typeface="Verdana"/>
              </a:rPr>
              <a:t>Schlüssel</a:t>
            </a:r>
            <a:r>
              <a:rPr lang="en-US" sz="2400" b="1" dirty="0">
                <a:solidFill>
                  <a:srgbClr val="00B0F0"/>
                </a:solidFill>
                <a:ea typeface="Verdana"/>
              </a:rPr>
              <a:t> für </a:t>
            </a:r>
            <a:r>
              <a:rPr lang="en-US" sz="2400" b="1" dirty="0" err="1">
                <a:solidFill>
                  <a:srgbClr val="00B0F0"/>
                </a:solidFill>
                <a:ea typeface="Verdana"/>
              </a:rPr>
              <a:t>eine</a:t>
            </a:r>
            <a:r>
              <a:rPr lang="en-US" sz="2400" b="1" dirty="0">
                <a:solidFill>
                  <a:srgbClr val="00B0F0"/>
                </a:solidFill>
                <a:ea typeface="Verdana"/>
              </a:rPr>
              <a:t> </a:t>
            </a:r>
            <a:r>
              <a:rPr lang="en-US" sz="2400" b="1" dirty="0" err="1">
                <a:solidFill>
                  <a:srgbClr val="00B0F0"/>
                </a:solidFill>
                <a:ea typeface="Verdana"/>
              </a:rPr>
              <a:t>nachhaltige</a:t>
            </a:r>
            <a:r>
              <a:rPr lang="en-US" sz="2400" b="1" dirty="0">
                <a:solidFill>
                  <a:srgbClr val="00B0F0"/>
                </a:solidFill>
                <a:ea typeface="Verdana"/>
              </a:rPr>
              <a:t> </a:t>
            </a:r>
            <a:r>
              <a:rPr lang="en-US" sz="2400" b="1" dirty="0" err="1">
                <a:solidFill>
                  <a:srgbClr val="00B0F0"/>
                </a:solidFill>
                <a:ea typeface="Verdana"/>
              </a:rPr>
              <a:t>Energiezukunft</a:t>
            </a:r>
            <a:endParaRPr lang="en-US" sz="2400" b="1" dirty="0">
              <a:solidFill>
                <a:srgbClr val="00B0F0"/>
              </a:solidFill>
              <a:ea typeface="Verdana"/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25C380EB-9059-B154-6880-41B6A9ACB12F}"/>
              </a:ext>
            </a:extLst>
          </p:cNvPr>
          <p:cNvGrpSpPr/>
          <p:nvPr/>
        </p:nvGrpSpPr>
        <p:grpSpPr>
          <a:xfrm>
            <a:off x="646997" y="5573291"/>
            <a:ext cx="2160564" cy="513025"/>
            <a:chOff x="710505" y="5799387"/>
            <a:chExt cx="2160564" cy="513025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46FB7AD7-2B2D-5726-545F-FC2408E8EEFC}"/>
                </a:ext>
              </a:extLst>
            </p:cNvPr>
            <p:cNvGrpSpPr/>
            <p:nvPr/>
          </p:nvGrpSpPr>
          <p:grpSpPr>
            <a:xfrm>
              <a:off x="1689110" y="5799387"/>
              <a:ext cx="1181959" cy="513025"/>
              <a:chOff x="862052" y="5811078"/>
              <a:chExt cx="1212416" cy="534160"/>
            </a:xfrm>
          </p:grpSpPr>
          <p:pic>
            <p:nvPicPr>
              <p:cNvPr id="23" name="Grafik 22" descr="Ein Bild, das Grafiken, Grafikdesign, Schrift, Screenshot enthält.&#10;&#10;Automatisch generierte Beschreibung">
                <a:extLst>
                  <a:ext uri="{FF2B5EF4-FFF2-40B4-BE49-F238E27FC236}">
                    <a16:creationId xmlns:a16="http://schemas.microsoft.com/office/drawing/2014/main" id="{FE89DE37-40AC-3C6C-A799-BCAD5A569C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862052" y="5811078"/>
                <a:ext cx="563834" cy="534159"/>
              </a:xfrm>
              <a:prstGeom prst="rect">
                <a:avLst/>
              </a:prstGeom>
            </p:spPr>
          </p:pic>
          <p:pic>
            <p:nvPicPr>
              <p:cNvPr id="24" name="Grafik 23" descr="Ein Bild, das Text, Schrift, Screenshot, Grafiken enthält.&#10;&#10;Automatisch generierte Beschreibung">
                <a:extLst>
                  <a:ext uri="{FF2B5EF4-FFF2-40B4-BE49-F238E27FC236}">
                    <a16:creationId xmlns:a16="http://schemas.microsoft.com/office/drawing/2014/main" id="{9F641BEC-32D9-B6F5-BAE1-464EDD55350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1540514" y="5811078"/>
                <a:ext cx="533954" cy="534160"/>
              </a:xfrm>
              <a:prstGeom prst="rect">
                <a:avLst/>
              </a:prstGeom>
            </p:spPr>
          </p:pic>
        </p:grp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A527774-8A1A-C51C-9ED5-46FD7E854876}"/>
                </a:ext>
              </a:extLst>
            </p:cNvPr>
            <p:cNvSpPr txBox="1"/>
            <p:nvPr/>
          </p:nvSpPr>
          <p:spPr>
            <a:xfrm>
              <a:off x="710505" y="5909081"/>
              <a:ext cx="86804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b="1">
                  <a:latin typeface="Verdana" panose="020B0604030504040204" pitchFamily="34" charset="0"/>
                  <a:ea typeface="Verdana" panose="020B0604030504040204" pitchFamily="34" charset="0"/>
                </a:rPr>
                <a:t>Allianzen</a:t>
              </a:r>
              <a:endParaRPr lang="de-CH" sz="800" b="1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5" name="Titel 1">
            <a:extLst>
              <a:ext uri="{FF2B5EF4-FFF2-40B4-BE49-F238E27FC236}">
                <a16:creationId xmlns:a16="http://schemas.microsoft.com/office/drawing/2014/main" id="{A9BF6E95-E375-3BD7-D444-332131B7092B}"/>
              </a:ext>
            </a:extLst>
          </p:cNvPr>
          <p:cNvSpPr txBox="1">
            <a:spLocks/>
          </p:cNvSpPr>
          <p:nvPr/>
        </p:nvSpPr>
        <p:spPr>
          <a:xfrm>
            <a:off x="775863" y="572164"/>
            <a:ext cx="8477980" cy="71325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3000"/>
              </a:spcAft>
              <a:buNone/>
              <a:defRPr sz="4000" b="1" i="0" kern="1200" cap="all" baseline="0">
                <a:solidFill>
                  <a:schemeClr val="accent1"/>
                </a:solidFill>
                <a:latin typeface="Arial Black" panose="020B0604020202020204" pitchFamily="34" charset="0"/>
                <a:ea typeface="Verdana" panose="020B060403050404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e-DE" dirty="0">
                <a:latin typeface="Arial Black"/>
                <a:ea typeface="Verdana"/>
              </a:rPr>
              <a:t>Wasserstoff</a:t>
            </a:r>
          </a:p>
        </p:txBody>
      </p:sp>
    </p:spTree>
    <p:extLst>
      <p:ext uri="{BB962C8B-B14F-4D97-AF65-F5344CB8AC3E}">
        <p14:creationId xmlns:p14="http://schemas.microsoft.com/office/powerpoint/2010/main" val="41438175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F642E02-F105-750B-0969-5C3693DA1F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E8C9803C-8933-B1E0-488D-1757EEF1E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2255" y="738641"/>
            <a:ext cx="10446620" cy="713259"/>
          </a:xfrm>
        </p:spPr>
        <p:txBody>
          <a:bodyPr>
            <a:noAutofit/>
          </a:bodyPr>
          <a:lstStyle/>
          <a:p>
            <a:r>
              <a:rPr lang="de-CH" dirty="0"/>
              <a:t>Be-digital </a:t>
            </a:r>
            <a:r>
              <a:rPr lang="de-CH" dirty="0" err="1"/>
              <a:t>basel</a:t>
            </a:r>
            <a:r>
              <a:rPr lang="de-CH" dirty="0"/>
              <a:t> Forum 2025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D52C2D9-7FDF-CF89-829E-72B2DBF6D68B}"/>
              </a:ext>
            </a:extLst>
          </p:cNvPr>
          <p:cNvSpPr txBox="1"/>
          <p:nvPr/>
        </p:nvSpPr>
        <p:spPr>
          <a:xfrm>
            <a:off x="872255" y="256457"/>
            <a:ext cx="4910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Be-digital basel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5B0F57EC-01BE-F236-09C7-2FBA2CB77703}"/>
              </a:ext>
            </a:extLst>
          </p:cNvPr>
          <p:cNvSpPr txBox="1"/>
          <p:nvPr/>
        </p:nvSpPr>
        <p:spPr>
          <a:xfrm>
            <a:off x="4871844" y="1723126"/>
            <a:ext cx="5924355" cy="43086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«KI – die unterschätzte Revolution»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1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</a:t>
            </a:r>
          </a:p>
          <a:p>
            <a:pPr marL="380990" marR="0" lvl="0" indent="-38099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9. April 2025</a:t>
            </a:r>
            <a:b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</a:b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13.30 Uhr bis 19.00 Uhr</a:t>
            </a:r>
          </a:p>
          <a:p>
            <a:pPr marL="342900" marR="0" lvl="0" indent="-34290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de-CH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380990" marR="0" lvl="0" indent="-38099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AI Innovation Center</a:t>
            </a:r>
            <a:b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</a:br>
            <a:r>
              <a:rPr kumimoji="0" lang="de-CH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Hegenheimermattweg</a:t>
            </a: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167B</a:t>
            </a:r>
            <a:b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</a:br>
            <a:r>
              <a:rPr kumimoji="0" lang="de-CH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4123 Allschwil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13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133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51822B6-72A7-4F8C-3C48-2560D04B28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1907" y="4379465"/>
            <a:ext cx="1275801" cy="126712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95FDB337-51E8-2547-BC79-F0A6C13D84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2255" y="1723126"/>
            <a:ext cx="3923461" cy="3923461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AFA61F1F-49ED-4063-D354-A7B6306A0939}"/>
              </a:ext>
            </a:extLst>
          </p:cNvPr>
          <p:cNvSpPr txBox="1"/>
          <p:nvPr/>
        </p:nvSpPr>
        <p:spPr>
          <a:xfrm>
            <a:off x="6732585" y="4859137"/>
            <a:ext cx="19146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Jetzt anmelden!</a:t>
            </a:r>
          </a:p>
        </p:txBody>
      </p:sp>
    </p:spTree>
    <p:extLst>
      <p:ext uri="{BB962C8B-B14F-4D97-AF65-F5344CB8AC3E}">
        <p14:creationId xmlns:p14="http://schemas.microsoft.com/office/powerpoint/2010/main" val="20812308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10ABDE6-87E7-A5F9-9838-58FD97BFC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2690" y="712909"/>
            <a:ext cx="10446620" cy="713259"/>
          </a:xfrm>
        </p:spPr>
        <p:txBody>
          <a:bodyPr/>
          <a:lstStyle/>
          <a:p>
            <a:r>
              <a:rPr lang="de-DE" dirty="0"/>
              <a:t>Bahnkongress 2025</a:t>
            </a:r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DFCEADF-DB65-DBCF-D05C-293BB48FCE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532" y="1554859"/>
            <a:ext cx="8305117" cy="467506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79A06A48-DD87-4F86-6527-FFD53CE411A8}"/>
              </a:ext>
            </a:extLst>
          </p:cNvPr>
          <p:cNvSpPr txBox="1"/>
          <p:nvPr/>
        </p:nvSpPr>
        <p:spPr>
          <a:xfrm>
            <a:off x="872690" y="307219"/>
            <a:ext cx="4910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Verkehr</a:t>
            </a:r>
          </a:p>
        </p:txBody>
      </p:sp>
    </p:spTree>
    <p:extLst>
      <p:ext uri="{BB962C8B-B14F-4D97-AF65-F5344CB8AC3E}">
        <p14:creationId xmlns:p14="http://schemas.microsoft.com/office/powerpoint/2010/main" val="4081223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BCD5A93-F43B-2740-D333-06685D3E51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D71BB54-D5CA-99BF-1D71-D62403687A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erkstatt Energietechnologien</a:t>
            </a:r>
            <a:endParaRPr lang="de-CH" dirty="0"/>
          </a:p>
        </p:txBody>
      </p:sp>
      <p:sp>
        <p:nvSpPr>
          <p:cNvPr id="2" name="Textfeld 13">
            <a:extLst>
              <a:ext uri="{FF2B5EF4-FFF2-40B4-BE49-F238E27FC236}">
                <a16:creationId xmlns:a16="http://schemas.microsoft.com/office/drawing/2014/main" id="{0EE6D5EB-BC06-0AB4-2127-C7A986CA1116}"/>
              </a:ext>
            </a:extLst>
          </p:cNvPr>
          <p:cNvSpPr txBox="1"/>
          <p:nvPr/>
        </p:nvSpPr>
        <p:spPr>
          <a:xfrm>
            <a:off x="5562598" y="1788247"/>
            <a:ext cx="6330951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800" b="1" i="0" u="none" strike="noStrike" dirty="0" err="1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Donnerstag</a:t>
            </a:r>
            <a:r>
              <a:rPr lang="en-GB" sz="1800" b="1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, 19. Juni 2025</a:t>
            </a:r>
            <a:br>
              <a:rPr lang="en-GB" sz="1800" b="1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</a:br>
            <a:r>
              <a:rPr lang="en-GB" sz="1800" b="1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18.00 - 20.00 Uhr</a:t>
            </a:r>
          </a:p>
          <a:p>
            <a:pPr algn="l"/>
            <a:br>
              <a:rPr lang="en-GB" sz="1800" b="1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</a:br>
            <a:r>
              <a:rPr lang="en-GB" sz="1600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im </a:t>
            </a:r>
            <a:r>
              <a:rPr lang="en-GB" sz="1600" i="0" u="none" strike="noStrike" dirty="0" err="1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Küchlin</a:t>
            </a:r>
            <a:r>
              <a:rPr lang="en-GB" sz="1600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 </a:t>
            </a:r>
            <a:r>
              <a:rPr lang="en-GB" sz="1600" i="0" u="none" strike="noStrike" dirty="0" err="1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Varieté</a:t>
            </a:r>
            <a:r>
              <a:rPr lang="en-GB" sz="1600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 Saal 1</a:t>
            </a:r>
            <a:br>
              <a:rPr lang="en-GB" sz="1600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</a:br>
            <a:r>
              <a:rPr lang="en-GB" sz="1600" i="0" u="none" strike="noStrike" dirty="0" err="1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Steinenvorstadt</a:t>
            </a:r>
            <a:r>
              <a:rPr lang="en-GB" sz="1600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 55</a:t>
            </a:r>
            <a:br>
              <a:rPr lang="en-GB" sz="1600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</a:br>
            <a:r>
              <a:rPr lang="en-GB" sz="1600" i="0" u="none" strike="noStrike" dirty="0">
                <a:solidFill>
                  <a:srgbClr val="212121"/>
                </a:solidFill>
                <a:effectLst/>
                <a:latin typeface="Verdana" panose="020B0604030504040204" pitchFamily="34" charset="0"/>
              </a:rPr>
              <a:t>4051 Basel</a:t>
            </a:r>
          </a:p>
          <a:p>
            <a:pPr algn="l"/>
            <a:endParaRPr lang="en-GB" b="1" dirty="0">
              <a:solidFill>
                <a:srgbClr val="212121"/>
              </a:solidFill>
              <a:latin typeface="Verdana" panose="020B0604030504040204" pitchFamily="34" charset="0"/>
            </a:endParaRPr>
          </a:p>
          <a:p>
            <a:pPr defTabSz="609585">
              <a:defRPr/>
            </a:pPr>
            <a:r>
              <a:rPr lang="en-GB" sz="1400" b="1" dirty="0" err="1">
                <a:solidFill>
                  <a:srgbClr val="212121"/>
                </a:solidFill>
                <a:latin typeface="Verdana" panose="020B0604030504040204" pitchFamily="34" charset="0"/>
              </a:rPr>
              <a:t>Themen</a:t>
            </a:r>
            <a:r>
              <a:rPr lang="en-GB" sz="1400" b="1" dirty="0">
                <a:solidFill>
                  <a:srgbClr val="212121"/>
                </a:solidFill>
                <a:latin typeface="Verdana" panose="020B0604030504040204" pitchFamily="34" charset="0"/>
              </a:rPr>
              <a:t>:</a:t>
            </a:r>
          </a:p>
          <a:p>
            <a:pPr lvl="0" indent="-342900" defTabSz="609585">
              <a:buFont typeface="Wingdings" panose="05000000000000000000" pitchFamily="2" charset="2"/>
              <a:buChar char="Ø"/>
              <a:defRPr/>
            </a:pPr>
            <a:r>
              <a:rPr lang="de-CH" sz="1400" dirty="0">
                <a:solidFill>
                  <a:srgbClr val="212121"/>
                </a:solidFill>
                <a:latin typeface="Verdana" panose="020B0604030504040204" pitchFamily="34" charset="0"/>
              </a:rPr>
              <a:t>Vor- und Nachteile einzelner Energietechnologien</a:t>
            </a:r>
          </a:p>
          <a:p>
            <a:pPr lvl="0" indent="-342900" defTabSz="609585">
              <a:buFont typeface="Wingdings" panose="05000000000000000000" pitchFamily="2" charset="2"/>
              <a:buChar char="Ø"/>
              <a:defRPr/>
            </a:pPr>
            <a:r>
              <a:rPr lang="de-CH" sz="1400" dirty="0">
                <a:solidFill>
                  <a:srgbClr val="212121"/>
                </a:solidFill>
                <a:latin typeface="Verdana" panose="020B0604030504040204" pitchFamily="34" charset="0"/>
              </a:rPr>
              <a:t>Strategien der Kantone Basel-Stadt und Basel-Landschaft</a:t>
            </a:r>
          </a:p>
          <a:p>
            <a:pPr lvl="0" indent="-342900" defTabSz="609585">
              <a:buFont typeface="Wingdings" panose="05000000000000000000" pitchFamily="2" charset="2"/>
              <a:buChar char="Ø"/>
              <a:defRPr/>
            </a:pPr>
            <a:r>
              <a:rPr lang="de-CH" sz="1400" dirty="0">
                <a:solidFill>
                  <a:srgbClr val="212121"/>
                </a:solidFill>
                <a:latin typeface="Verdana" panose="020B0604030504040204" pitchFamily="34" charset="0"/>
              </a:rPr>
              <a:t>Konsequenzen für Privatpersonen und Unternehmen</a:t>
            </a:r>
          </a:p>
          <a:p>
            <a:br>
              <a:rPr lang="en-GB" sz="1400" dirty="0"/>
            </a:br>
            <a:endParaRPr lang="en-GB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6" name="Picture 5" descr="A collection of green symbols&#10;&#10;AI-generated content may be incorrect.">
            <a:extLst>
              <a:ext uri="{FF2B5EF4-FFF2-40B4-BE49-F238E27FC236}">
                <a16:creationId xmlns:a16="http://schemas.microsoft.com/office/drawing/2014/main" id="{9D036F4A-FDA8-60FD-AEC3-0F95751E86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2255" y="1788247"/>
            <a:ext cx="4542788" cy="4533040"/>
          </a:xfrm>
          <a:prstGeom prst="rect">
            <a:avLst/>
          </a:prstGeom>
        </p:spPr>
      </p:pic>
      <p:sp>
        <p:nvSpPr>
          <p:cNvPr id="7" name="Textfeld 1">
            <a:extLst>
              <a:ext uri="{FF2B5EF4-FFF2-40B4-BE49-F238E27FC236}">
                <a16:creationId xmlns:a16="http://schemas.microsoft.com/office/drawing/2014/main" id="{8363E67A-08D4-7600-4B3C-2F6EEC1224AF}"/>
              </a:ext>
            </a:extLst>
          </p:cNvPr>
          <p:cNvSpPr txBox="1"/>
          <p:nvPr/>
        </p:nvSpPr>
        <p:spPr>
          <a:xfrm>
            <a:off x="7423733" y="5430493"/>
            <a:ext cx="17838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Jetzt anmelden!</a:t>
            </a:r>
          </a:p>
        </p:txBody>
      </p:sp>
      <p:pic>
        <p:nvPicPr>
          <p:cNvPr id="9" name="Picture 8" descr="A qr code with a dinosaur&#10;&#10;AI-generated content may be incorrect.">
            <a:extLst>
              <a:ext uri="{FF2B5EF4-FFF2-40B4-BE49-F238E27FC236}">
                <a16:creationId xmlns:a16="http://schemas.microsoft.com/office/drawing/2014/main" id="{0788DEC8-1EF2-3D0C-5E8F-30F52FD62B0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3092" b="2192"/>
          <a:stretch/>
        </p:blipFill>
        <p:spPr>
          <a:xfrm>
            <a:off x="5567925" y="4812024"/>
            <a:ext cx="1626411" cy="1544717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BE801D68-4018-CA82-7F0E-A74F09D21FE3}"/>
              </a:ext>
            </a:extLst>
          </p:cNvPr>
          <p:cNvSpPr txBox="1"/>
          <p:nvPr/>
        </p:nvSpPr>
        <p:spPr>
          <a:xfrm>
            <a:off x="872255" y="190416"/>
            <a:ext cx="4910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Energie</a:t>
            </a:r>
          </a:p>
        </p:txBody>
      </p:sp>
    </p:spTree>
    <p:extLst>
      <p:ext uri="{BB962C8B-B14F-4D97-AF65-F5344CB8AC3E}">
        <p14:creationId xmlns:p14="http://schemas.microsoft.com/office/powerpoint/2010/main" val="34647257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CE97C13-7A2A-8931-11EB-60D9B16D40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8D6D887-2364-63E3-5EFF-5311464A1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Zone </a:t>
            </a:r>
            <a:r>
              <a:rPr lang="de-DE" dirty="0" err="1"/>
              <a:t>zukunft</a:t>
            </a:r>
            <a:endParaRPr lang="de-CH" dirty="0"/>
          </a:p>
        </p:txBody>
      </p:sp>
      <p:sp>
        <p:nvSpPr>
          <p:cNvPr id="2" name="Textfeld 13">
            <a:extLst>
              <a:ext uri="{FF2B5EF4-FFF2-40B4-BE49-F238E27FC236}">
                <a16:creationId xmlns:a16="http://schemas.microsoft.com/office/drawing/2014/main" id="{70503797-5EB6-85B7-E086-3E6A9EF54E3D}"/>
              </a:ext>
            </a:extLst>
          </p:cNvPr>
          <p:cNvSpPr txBox="1"/>
          <p:nvPr/>
        </p:nvSpPr>
        <p:spPr>
          <a:xfrm>
            <a:off x="5549249" y="1620098"/>
            <a:ext cx="633095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de-CH" b="1" dirty="0">
                <a:solidFill>
                  <a:srgbClr val="212121"/>
                </a:solidFill>
                <a:latin typeface="Verdana" panose="020B0604030504040204" pitchFamily="34" charset="0"/>
              </a:rPr>
              <a:t>Donnerstag, 4. September 2025</a:t>
            </a:r>
            <a:br>
              <a:rPr lang="de-CH" b="1" dirty="0">
                <a:solidFill>
                  <a:srgbClr val="212121"/>
                </a:solidFill>
                <a:latin typeface="Verdana" panose="020B0604030504040204" pitchFamily="34" charset="0"/>
              </a:rPr>
            </a:br>
            <a:r>
              <a:rPr lang="de-CH" b="1" dirty="0">
                <a:solidFill>
                  <a:srgbClr val="212121"/>
                </a:solidFill>
                <a:latin typeface="Verdana" panose="020B0604030504040204" pitchFamily="34" charset="0"/>
              </a:rPr>
              <a:t>9.00 Uhr bis 13.30 Uhr</a:t>
            </a:r>
            <a:br>
              <a:rPr lang="de-CH" b="1" dirty="0">
                <a:solidFill>
                  <a:srgbClr val="212121"/>
                </a:solidFill>
                <a:latin typeface="Verdana" panose="020B0604030504040204" pitchFamily="34" charset="0"/>
              </a:rPr>
            </a:br>
            <a:r>
              <a:rPr lang="de-CH" dirty="0">
                <a:solidFill>
                  <a:srgbClr val="212121"/>
                </a:solidFill>
                <a:latin typeface="Verdana" panose="020B0604030504040204" pitchFamily="34" charset="0"/>
              </a:rPr>
              <a:t>in der Region Basel</a:t>
            </a:r>
          </a:p>
          <a:p>
            <a:pPr defTabSz="609585">
              <a:defRPr/>
            </a:pPr>
            <a:endParaRPr lang="de-CH" b="1" dirty="0">
              <a:solidFill>
                <a:srgbClr val="212121"/>
              </a:solidFill>
              <a:latin typeface="Verdana" panose="020B0604030504040204" pitchFamily="34" charset="0"/>
            </a:endParaRPr>
          </a:p>
          <a:p>
            <a:pPr defTabSz="609585">
              <a:defRPr/>
            </a:pPr>
            <a:endParaRPr lang="de-CH" b="1" dirty="0">
              <a:solidFill>
                <a:srgbClr val="212121"/>
              </a:solidFill>
              <a:latin typeface="Verdana" panose="020B0604030504040204" pitchFamily="34" charset="0"/>
            </a:endParaRPr>
          </a:p>
          <a:p>
            <a:pPr defTabSz="609585">
              <a:defRPr/>
            </a:pPr>
            <a:r>
              <a:rPr lang="de-CH" sz="1400" b="1" dirty="0">
                <a:solidFill>
                  <a:srgbClr val="212121"/>
                </a:solidFill>
                <a:latin typeface="Verdana" panose="020B0604030504040204" pitchFamily="34" charset="0"/>
              </a:rPr>
              <a:t>Diskussion wichtiger Themen der Raumentwicklung:</a:t>
            </a:r>
            <a:r>
              <a:rPr lang="de-CH" sz="1400" dirty="0">
                <a:solidFill>
                  <a:srgbClr val="212121"/>
                </a:solidFill>
                <a:latin typeface="Verdana" panose="020B0604030504040204" pitchFamily="34" charset="0"/>
              </a:rPr>
              <a:t> </a:t>
            </a:r>
          </a:p>
          <a:p>
            <a:pPr indent="-342900" defTabSz="609585">
              <a:buFont typeface="Wingdings" panose="05000000000000000000" pitchFamily="2" charset="2"/>
              <a:buChar char="Ø"/>
              <a:defRPr/>
            </a:pPr>
            <a:r>
              <a:rPr lang="de-CH" sz="1400" dirty="0">
                <a:solidFill>
                  <a:srgbClr val="212121"/>
                </a:solidFill>
                <a:latin typeface="Verdana" panose="020B0604030504040204" pitchFamily="34" charset="0"/>
              </a:rPr>
              <a:t>Potenziale bei der Standort- und Wirtschaftsförderung erkennen</a:t>
            </a:r>
          </a:p>
          <a:p>
            <a:pPr indent="-342900" defTabSz="609585">
              <a:buFont typeface="Wingdings" panose="05000000000000000000" pitchFamily="2" charset="2"/>
              <a:buChar char="Ø"/>
              <a:defRPr/>
            </a:pPr>
            <a:r>
              <a:rPr lang="de-CH" sz="1400" dirty="0">
                <a:solidFill>
                  <a:srgbClr val="212121"/>
                </a:solidFill>
                <a:latin typeface="Verdana" panose="020B0604030504040204" pitchFamily="34" charset="0"/>
              </a:rPr>
              <a:t>Verfügbarkeit von Wirtschaftsflächen sicherstellen</a:t>
            </a:r>
          </a:p>
          <a:p>
            <a:pPr indent="-342900" defTabSz="609585">
              <a:buFont typeface="Wingdings" panose="05000000000000000000" pitchFamily="2" charset="2"/>
              <a:buChar char="Ø"/>
              <a:defRPr/>
            </a:pPr>
            <a:r>
              <a:rPr lang="de-CH" sz="1400" dirty="0">
                <a:solidFill>
                  <a:srgbClr val="212121"/>
                </a:solidFill>
                <a:latin typeface="Verdana" panose="020B0604030504040204" pitchFamily="34" charset="0"/>
              </a:rPr>
              <a:t>Wirtschaftliche Grundlagen und dynamische Verfahren schaffen</a:t>
            </a:r>
          </a:p>
          <a:p>
            <a:pPr indent="-342900" defTabSz="609585">
              <a:buFont typeface="Wingdings" panose="05000000000000000000" pitchFamily="2" charset="2"/>
              <a:buChar char="Ø"/>
              <a:defRPr/>
            </a:pPr>
            <a:r>
              <a:rPr lang="de-CH" sz="1400" dirty="0">
                <a:solidFill>
                  <a:srgbClr val="212121"/>
                </a:solidFill>
                <a:latin typeface="Verdana" panose="020B0604030504040204" pitchFamily="34" charset="0"/>
              </a:rPr>
              <a:t>Wirksame Zusammenarbeit fördern</a:t>
            </a:r>
            <a:endParaRPr lang="en-GB" sz="1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" name="Picture 3" descr="A white background with red text and red letters&#10;&#10;AI-generated content may be incorrect.">
            <a:extLst>
              <a:ext uri="{FF2B5EF4-FFF2-40B4-BE49-F238E27FC236}">
                <a16:creationId xmlns:a16="http://schemas.microsoft.com/office/drawing/2014/main" id="{1F4FD050-6319-DB4E-E352-E9A5D34557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331" y="1620098"/>
            <a:ext cx="4775193" cy="2241875"/>
          </a:xfrm>
          <a:prstGeom prst="rect">
            <a:avLst/>
          </a:prstGeom>
        </p:spPr>
      </p:pic>
      <p:pic>
        <p:nvPicPr>
          <p:cNvPr id="5" name="Picture 4" descr="A qr code on a white background&#10;&#10;AI-generated content may be incorrect.">
            <a:extLst>
              <a:ext uri="{FF2B5EF4-FFF2-40B4-BE49-F238E27FC236}">
                <a16:creationId xmlns:a16="http://schemas.microsoft.com/office/drawing/2014/main" id="{40FC2391-4D46-063F-190E-E0945FAADF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9249" y="4542855"/>
            <a:ext cx="1407005" cy="1408305"/>
          </a:xfrm>
          <a:prstGeom prst="rect">
            <a:avLst/>
          </a:prstGeom>
        </p:spPr>
      </p:pic>
      <p:sp>
        <p:nvSpPr>
          <p:cNvPr id="8" name="Textfeld 1">
            <a:extLst>
              <a:ext uri="{FF2B5EF4-FFF2-40B4-BE49-F238E27FC236}">
                <a16:creationId xmlns:a16="http://schemas.microsoft.com/office/drawing/2014/main" id="{7138F4DA-C8CA-C51B-8E33-19DC4D199E09}"/>
              </a:ext>
            </a:extLst>
          </p:cNvPr>
          <p:cNvSpPr txBox="1"/>
          <p:nvPr/>
        </p:nvSpPr>
        <p:spPr>
          <a:xfrm>
            <a:off x="7157309" y="5093118"/>
            <a:ext cx="32931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Jetzt anmelden!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2AD79D4-D2DB-C583-F8A1-0603CAD4E4AA}"/>
              </a:ext>
            </a:extLst>
          </p:cNvPr>
          <p:cNvSpPr txBox="1"/>
          <p:nvPr/>
        </p:nvSpPr>
        <p:spPr>
          <a:xfrm>
            <a:off x="872255" y="190416"/>
            <a:ext cx="4910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Raumplanung</a:t>
            </a:r>
          </a:p>
        </p:txBody>
      </p:sp>
    </p:spTree>
    <p:extLst>
      <p:ext uri="{BB962C8B-B14F-4D97-AF65-F5344CB8AC3E}">
        <p14:creationId xmlns:p14="http://schemas.microsoft.com/office/powerpoint/2010/main" val="4356862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275AD2-6AA2-D8DB-FD1A-51D2D303BA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1" y="909075"/>
            <a:ext cx="8477980" cy="713259"/>
          </a:xfrm>
        </p:spPr>
        <p:txBody>
          <a:bodyPr/>
          <a:lstStyle/>
          <a:p>
            <a:r>
              <a:rPr lang="de-DE">
                <a:latin typeface="Arial Black"/>
                <a:ea typeface="Verdana"/>
              </a:rPr>
              <a:t>Wirtschaft on </a:t>
            </a:r>
            <a:r>
              <a:rPr lang="de-DE" err="1">
                <a:latin typeface="Arial Black"/>
                <a:ea typeface="Verdana"/>
              </a:rPr>
              <a:t>air</a:t>
            </a:r>
            <a:endParaRPr lang="de-DE">
              <a:latin typeface="Arial Black"/>
              <a:ea typeface="Verdana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D8D0188-B8D3-7D8D-3033-4F532ECE3936}"/>
              </a:ext>
            </a:extLst>
          </p:cNvPr>
          <p:cNvSpPr txBox="1"/>
          <p:nvPr/>
        </p:nvSpPr>
        <p:spPr>
          <a:xfrm>
            <a:off x="784445" y="179050"/>
            <a:ext cx="4910851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200"/>
              <a:t>Kommunikation 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4D597B3-D416-8081-B855-7A5497D114D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72566" y="1895511"/>
            <a:ext cx="9725264" cy="4315836"/>
          </a:xfrm>
        </p:spPr>
        <p:txBody>
          <a:bodyPr vert="horz" lIns="0" tIns="0" rIns="0" bIns="0" rtlCol="0" anchor="t">
            <a:noAutofit/>
          </a:bodyPr>
          <a:lstStyle/>
          <a:p>
            <a:pPr lvl="1"/>
            <a:r>
              <a:rPr lang="de-DE" b="0" i="0" dirty="0">
                <a:effectLst/>
                <a:latin typeface="Corporate S W01 Bold"/>
                <a:ea typeface="Verdana"/>
              </a:rPr>
              <a:t>Interessante Wirtschaftsgespräche in luftigen Höhen – das erwartet Sie </a:t>
            </a:r>
            <a:r>
              <a:rPr lang="de-DE" dirty="0">
                <a:latin typeface="Corporate S W01 Bold"/>
                <a:ea typeface="Verdana"/>
              </a:rPr>
              <a:t>bei</a:t>
            </a:r>
            <a:r>
              <a:rPr lang="de-DE" b="0" i="0" dirty="0">
                <a:effectLst/>
                <a:latin typeface="Corporate S W01 Bold"/>
                <a:ea typeface="Verdana"/>
              </a:rPr>
              <a:t> </a:t>
            </a:r>
            <a:r>
              <a:rPr lang="de-DE" dirty="0">
                <a:latin typeface="Corporate S W01 Bold"/>
                <a:ea typeface="Verdana"/>
              </a:rPr>
              <a:t>unserer </a:t>
            </a:r>
            <a:r>
              <a:rPr lang="de-DE" dirty="0" err="1">
                <a:latin typeface="Corporate S W01 Bold"/>
                <a:ea typeface="Verdana"/>
              </a:rPr>
              <a:t>Podcastreihe</a:t>
            </a:r>
            <a:r>
              <a:rPr lang="de-DE" b="0" i="0" dirty="0">
                <a:effectLst/>
                <a:latin typeface="Corporate S W01 Bold"/>
                <a:ea typeface="Verdana"/>
              </a:rPr>
              <a:t>. Hören Sie rein, wenn es </a:t>
            </a:r>
            <a:r>
              <a:rPr lang="de-DE" b="0" i="0" dirty="0" err="1">
                <a:effectLst/>
                <a:latin typeface="Corporate S W01 Bold"/>
                <a:ea typeface="Verdana"/>
              </a:rPr>
              <a:t>heisst</a:t>
            </a:r>
            <a:r>
              <a:rPr lang="de-DE" b="0" i="0" dirty="0">
                <a:effectLst/>
                <a:latin typeface="Corporate S W01 Bold"/>
                <a:ea typeface="Verdana"/>
              </a:rPr>
              <a:t>: Wirtschaft on Air!</a:t>
            </a:r>
          </a:p>
          <a:p>
            <a:pPr lvl="1"/>
            <a:endParaRPr lang="de-DE">
              <a:latin typeface="Corporate S W01 Bold"/>
              <a:ea typeface="Verdana"/>
            </a:endParaRPr>
          </a:p>
          <a:p>
            <a:pPr marL="0" lvl="1" indent="0">
              <a:buNone/>
            </a:pPr>
            <a:endParaRPr lang="de-DE" b="1">
              <a:latin typeface="Verdana"/>
              <a:ea typeface="Verdana"/>
            </a:endParaRP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64F5D732-198F-ECE4-0DBD-E2EC1BFC304F}"/>
              </a:ext>
            </a:extLst>
          </p:cNvPr>
          <p:cNvSpPr txBox="1">
            <a:spLocks/>
          </p:cNvSpPr>
          <p:nvPr/>
        </p:nvSpPr>
        <p:spPr>
          <a:xfrm>
            <a:off x="784445" y="6437463"/>
            <a:ext cx="399053" cy="276999"/>
          </a:xfrm>
          <a:prstGeom prst="rect">
            <a:avLst/>
          </a:prstGeom>
        </p:spPr>
        <p:txBody>
          <a:bodyPr/>
          <a:lstStyle>
            <a:defPPr rtl="0"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9887FE-C7F0-4C49-9762-E1E334B5FEBC}" type="slidenum">
              <a:rPr lang="de-DE" smtClean="0"/>
              <a:pPr/>
              <a:t>15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68D4C18-4224-48A4-5E92-8961B50473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8205" y="2588883"/>
            <a:ext cx="4273986" cy="362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0610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9CD3D8-9CE4-818D-208B-19EC1EF275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7A1897C-C9E5-DE63-6748-31BA25B620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72255" y="1892316"/>
            <a:ext cx="10643470" cy="4315836"/>
          </a:xfrm>
        </p:spPr>
        <p:txBody>
          <a:bodyPr vert="horz" lIns="0" tIns="0" rIns="0" bIns="0" rtlCol="0" anchor="t">
            <a:noAutofit/>
          </a:bodyPr>
          <a:lstStyle/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CH" sz="1800" dirty="0">
              <a:ea typeface="Verdana"/>
            </a:endParaRPr>
          </a:p>
          <a:p>
            <a:pPr>
              <a:lnSpc>
                <a:spcPct val="100000"/>
              </a:lnSpc>
            </a:pPr>
            <a:endParaRPr lang="de-DE" sz="1800" b="0" dirty="0">
              <a:ea typeface="Verdana"/>
            </a:endParaRPr>
          </a:p>
          <a:p>
            <a:pPr>
              <a:lnSpc>
                <a:spcPct val="100000"/>
              </a:lnSpc>
            </a:pPr>
            <a:r>
              <a:rPr lang="de-CH" sz="1800" b="0" dirty="0">
                <a:ea typeface="Verdana"/>
              </a:rPr>
              <a:t>				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CH" sz="1800" b="0" dirty="0">
              <a:ea typeface="Verdana"/>
            </a:endParaRPr>
          </a:p>
          <a:p>
            <a:pPr>
              <a:lnSpc>
                <a:spcPct val="100000"/>
              </a:lnSpc>
            </a:pPr>
            <a:endParaRPr lang="de-CH" sz="1800" b="0" dirty="0">
              <a:ea typeface="Verdana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CH" sz="1800" b="0" dirty="0">
              <a:latin typeface="Verdana"/>
              <a:ea typeface="Verdana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CH" sz="18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CA951AB-D6DA-6EB3-7F63-462A91F9417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72255" y="906839"/>
            <a:ext cx="7740650" cy="713259"/>
          </a:xfrm>
        </p:spPr>
        <p:txBody>
          <a:bodyPr/>
          <a:lstStyle/>
          <a:p>
            <a:r>
              <a:rPr lang="de-CH"/>
              <a:t>AGENDA - Save </a:t>
            </a:r>
            <a:r>
              <a:rPr lang="de-CH" err="1"/>
              <a:t>the</a:t>
            </a:r>
            <a:r>
              <a:rPr lang="de-CH"/>
              <a:t> Dat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3C33E12-CF05-3006-D11D-F30A5E44F27A}"/>
              </a:ext>
            </a:extLst>
          </p:cNvPr>
          <p:cNvSpPr txBox="1"/>
          <p:nvPr/>
        </p:nvSpPr>
        <p:spPr>
          <a:xfrm>
            <a:off x="784445" y="179050"/>
            <a:ext cx="4910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/>
              <a:t>Veranstaltungen</a:t>
            </a:r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CEDAE909-2C5D-6CAB-D17E-4FCBC287E1CE}"/>
              </a:ext>
            </a:extLst>
          </p:cNvPr>
          <p:cNvGraphicFramePr>
            <a:graphicFrameLocks noGrp="1"/>
          </p:cNvGraphicFramePr>
          <p:nvPr/>
        </p:nvGraphicFramePr>
        <p:xfrm>
          <a:off x="784445" y="2070888"/>
          <a:ext cx="8811241" cy="378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87171">
                  <a:extLst>
                    <a:ext uri="{9D8B030D-6E8A-4147-A177-3AD203B41FA5}">
                      <a16:colId xmlns:a16="http://schemas.microsoft.com/office/drawing/2014/main" val="2622677979"/>
                    </a:ext>
                  </a:extLst>
                </a:gridCol>
                <a:gridCol w="3524070">
                  <a:extLst>
                    <a:ext uri="{9D8B030D-6E8A-4147-A177-3AD203B41FA5}">
                      <a16:colId xmlns:a16="http://schemas.microsoft.com/office/drawing/2014/main" val="3487183035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de-CH" sz="1800" b="1" kern="1200" dirty="0" err="1">
                          <a:solidFill>
                            <a:schemeClr val="dk1"/>
                          </a:solidFill>
                          <a:latin typeface="+mn-lt"/>
                          <a:ea typeface="Verdana"/>
                          <a:cs typeface="+mn-cs"/>
                        </a:rPr>
                        <a:t>be</a:t>
                      </a:r>
                      <a:r>
                        <a:rPr lang="de-CH" sz="1800" b="1" kern="1200" dirty="0">
                          <a:solidFill>
                            <a:schemeClr val="dk1"/>
                          </a:solidFill>
                          <a:latin typeface="+mn-lt"/>
                          <a:ea typeface="Verdana"/>
                          <a:cs typeface="+mn-cs"/>
                        </a:rPr>
                        <a:t>-digital Forum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kern="1200" dirty="0">
                          <a:solidFill>
                            <a:schemeClr val="dk1"/>
                          </a:solidFill>
                          <a:latin typeface="+mn-lt"/>
                          <a:ea typeface="Verdana"/>
                          <a:cs typeface="+mn-cs"/>
                        </a:rPr>
                        <a:t>9. April 2025</a:t>
                      </a:r>
                      <a:endParaRPr lang="de-CH" sz="1800" b="0" kern="1200" dirty="0">
                        <a:solidFill>
                          <a:schemeClr val="dk1"/>
                        </a:solidFill>
                        <a:latin typeface="+mn-lt"/>
                        <a:ea typeface="Verdan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938220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de-CH" sz="1800" b="1" dirty="0">
                          <a:ea typeface="Verdana"/>
                        </a:rPr>
                        <a:t>Bahnkongress Bahn25</a:t>
                      </a:r>
                      <a:endParaRPr lang="de-CH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dirty="0">
                          <a:ea typeface="Verdana"/>
                        </a:rPr>
                        <a:t>16. Mai 2025</a:t>
                      </a:r>
                      <a:endParaRPr lang="de-CH" sz="1800" dirty="0">
                        <a:ea typeface="Verdana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822033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de-DE" sz="1800" b="1" dirty="0">
                          <a:ea typeface="Verdana"/>
                        </a:rPr>
                        <a:t>Generalversammlung 2025       </a:t>
                      </a:r>
                      <a:endParaRPr lang="de-CH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dirty="0">
                          <a:ea typeface="Verdana"/>
                        </a:rPr>
                        <a:t>19. Mai 2025</a:t>
                      </a:r>
                      <a:endParaRPr lang="de-CH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61747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de-CH" sz="1800" b="1" dirty="0">
                          <a:ea typeface="Verdana"/>
                        </a:rPr>
                        <a:t>«Spotlight Finance Basel»</a:t>
                      </a:r>
                      <a:endParaRPr lang="de-CH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>
                          <a:ea typeface="Verdana"/>
                        </a:rPr>
                        <a:t>4. Juni 2025</a:t>
                      </a:r>
                      <a:endParaRPr lang="de-CH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550837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de-CH" sz="1800" b="1" dirty="0">
                          <a:ea typeface="Verdana"/>
                        </a:rPr>
                        <a:t>Werkstatt Energietechnologien</a:t>
                      </a:r>
                      <a:endParaRPr lang="de-CH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CH" sz="1800" b="0" dirty="0">
                          <a:ea typeface="Verdana"/>
                        </a:rPr>
                        <a:t>19. Juni 2025</a:t>
                      </a:r>
                      <a:endParaRPr lang="de-CH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162914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de-CH" sz="1800" b="1" dirty="0">
                          <a:ea typeface="Verdana"/>
                        </a:rPr>
                        <a:t>Fachkongress Zone Zukunft</a:t>
                      </a:r>
                      <a:r>
                        <a:rPr lang="de-DE" sz="1800" b="1" dirty="0">
                          <a:ea typeface="Verdana"/>
                        </a:rPr>
                        <a:t> </a:t>
                      </a:r>
                      <a:endParaRPr lang="de-CH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dirty="0">
                          <a:ea typeface="Verdana"/>
                        </a:rPr>
                        <a:t>4. September 2025</a:t>
                      </a:r>
                      <a:endParaRPr lang="de-CH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02863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de-CH" sz="1800" b="1" dirty="0" err="1">
                          <a:ea typeface="Verdana"/>
                        </a:rPr>
                        <a:t>Trinationales</a:t>
                      </a:r>
                      <a:r>
                        <a:rPr lang="de-CH" sz="1800" b="1" dirty="0">
                          <a:ea typeface="Verdana"/>
                        </a:rPr>
                        <a:t> Wasserstoff-Forum</a:t>
                      </a:r>
                      <a:endParaRPr lang="de-CH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sz="1800" b="0" dirty="0">
                          <a:ea typeface="Verdana"/>
                        </a:rPr>
                        <a:t>6. November 2025</a:t>
                      </a:r>
                      <a:endParaRPr lang="de-CH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00900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8568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36470">
        <p:fade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2"/>
          </p:nvPr>
        </p:nvSpPr>
        <p:spPr>
          <a:xfrm>
            <a:off x="872255" y="1892316"/>
            <a:ext cx="10643470" cy="4315836"/>
          </a:xfr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100000"/>
              </a:lnSpc>
            </a:pPr>
            <a:br>
              <a:rPr lang="de-DE" sz="1800" dirty="0">
                <a:latin typeface="Verdana"/>
                <a:ea typeface="Verdana"/>
              </a:rPr>
            </a:br>
            <a:endParaRPr lang="de-DE" sz="1800" dirty="0">
              <a:latin typeface="Verdana"/>
              <a:ea typeface="Verdana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latin typeface="Verdana"/>
                <a:ea typeface="Verdana"/>
              </a:rPr>
              <a:t>11. Juni 2025</a:t>
            </a:r>
            <a:br>
              <a:rPr lang="de-DE" sz="1800" b="0" dirty="0">
                <a:latin typeface="Verdana"/>
                <a:ea typeface="Verdana"/>
              </a:rPr>
            </a:br>
            <a:r>
              <a:rPr lang="de-DE" sz="1800" dirty="0">
                <a:latin typeface="Verdana"/>
                <a:ea typeface="Verdana"/>
              </a:rPr>
              <a:t>Müller Elektrotechnik GmbH &amp; </a:t>
            </a:r>
            <a:r>
              <a:rPr lang="de-DE" sz="1800" dirty="0" err="1">
                <a:latin typeface="Verdana"/>
                <a:ea typeface="Verdana"/>
              </a:rPr>
              <a:t>marketingspot</a:t>
            </a:r>
            <a:r>
              <a:rPr lang="de-DE" sz="1800" dirty="0">
                <a:latin typeface="Verdana"/>
                <a:ea typeface="Verdana"/>
              </a:rPr>
              <a:t> AG, Muttenz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latin typeface="Verdana"/>
                <a:ea typeface="Verdana"/>
              </a:rPr>
              <a:t>28. August 2025</a:t>
            </a:r>
            <a:br>
              <a:rPr lang="de-DE" sz="1800" b="0" dirty="0">
                <a:latin typeface="Verdana"/>
                <a:ea typeface="Verdana"/>
              </a:rPr>
            </a:br>
            <a:r>
              <a:rPr lang="de-DE" sz="1800" dirty="0">
                <a:latin typeface="Verdana"/>
                <a:ea typeface="Verdana"/>
              </a:rPr>
              <a:t>GETEC SWISS.PARK, Muttenz</a:t>
            </a: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sz="1800" b="0" dirty="0">
                <a:latin typeface="Verdana"/>
                <a:ea typeface="Verdana"/>
              </a:rPr>
              <a:t>2. Dezember 2025</a:t>
            </a:r>
            <a:br>
              <a:rPr lang="de-DE" sz="1800" b="0" dirty="0">
                <a:latin typeface="Verdana"/>
                <a:ea typeface="Verdana"/>
              </a:rPr>
            </a:br>
            <a:r>
              <a:rPr lang="de-DE" sz="1800" dirty="0">
                <a:latin typeface="Verdana"/>
                <a:ea typeface="Verdana"/>
              </a:rPr>
              <a:t>Adventslunch im Restaurant Pantheon</a:t>
            </a:r>
            <a:r>
              <a:rPr lang="de-DE" sz="1800">
                <a:latin typeface="Verdana"/>
                <a:ea typeface="Verdana"/>
              </a:rPr>
              <a:t>, Muttenz</a:t>
            </a:r>
            <a:endParaRPr lang="de-DE" sz="1800" dirty="0">
              <a:latin typeface="Verdana"/>
              <a:ea typeface="Verdana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latin typeface="Verdana"/>
              <a:ea typeface="Verdana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sz="1800" dirty="0">
              <a:latin typeface="Verdana"/>
              <a:ea typeface="Verdana"/>
            </a:endParaRPr>
          </a:p>
          <a:p>
            <a:pPr>
              <a:lnSpc>
                <a:spcPct val="100000"/>
              </a:lnSpc>
            </a:pPr>
            <a:endParaRPr lang="de-CH" sz="1800" dirty="0">
              <a:latin typeface="Verdana"/>
              <a:ea typeface="Verdana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idx="4294967295"/>
          </p:nvPr>
        </p:nvSpPr>
        <p:spPr>
          <a:xfrm>
            <a:off x="872254" y="906839"/>
            <a:ext cx="9621151" cy="713259"/>
          </a:xfrm>
        </p:spPr>
        <p:txBody>
          <a:bodyPr>
            <a:normAutofit fontScale="90000"/>
          </a:bodyPr>
          <a:lstStyle/>
          <a:p>
            <a:r>
              <a:rPr lang="de-CH" dirty="0"/>
              <a:t>AGENDA 2025 – Nächste</a:t>
            </a:r>
            <a:br>
              <a:rPr lang="de-CH" dirty="0"/>
            </a:br>
            <a:r>
              <a:rPr lang="de-CH" dirty="0" err="1"/>
              <a:t>Unternehmer</a:t>
            </a:r>
            <a:r>
              <a:rPr lang="de-CH" err="1"/>
              <a:t>!</a:t>
            </a:r>
            <a:r>
              <a:rPr lang="de-CH"/>
              <a:t>innen-Treff </a:t>
            </a:r>
            <a:r>
              <a:rPr lang="de-CH" dirty="0"/>
              <a:t>KAMP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59437A0-F9EF-1399-A2A6-2242E0B6C299}"/>
              </a:ext>
            </a:extLst>
          </p:cNvPr>
          <p:cNvSpPr txBox="1"/>
          <p:nvPr/>
        </p:nvSpPr>
        <p:spPr>
          <a:xfrm>
            <a:off x="784445" y="179050"/>
            <a:ext cx="49108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/>
              <a:t>Veranstaltungen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589DC610-9F98-DD11-82BB-08216519C6E6}"/>
              </a:ext>
            </a:extLst>
          </p:cNvPr>
          <p:cNvSpPr txBox="1">
            <a:spLocks/>
          </p:cNvSpPr>
          <p:nvPr/>
        </p:nvSpPr>
        <p:spPr>
          <a:xfrm>
            <a:off x="872254" y="2363114"/>
            <a:ext cx="10643470" cy="43158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3500"/>
              </a:lnSpc>
              <a:spcBef>
                <a:spcPts val="0"/>
              </a:spcBef>
              <a:spcAft>
                <a:spcPts val="3000"/>
              </a:spcAft>
              <a:buFontTx/>
              <a:buNone/>
              <a:defRPr sz="2600" b="1" i="0" kern="1200" cap="none" baseline="0">
                <a:solidFill>
                  <a:schemeClr val="tx1"/>
                </a:solidFill>
                <a:latin typeface="+mn-lt"/>
                <a:ea typeface="Verdana" panose="020B0604030504040204" pitchFamily="34" charset="0"/>
                <a:cs typeface="Arial Black" panose="020B0604020202020204" pitchFamily="34" charset="0"/>
              </a:defRPr>
            </a:lvl1pPr>
            <a:lvl2pPr marL="358775" indent="-358775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800"/>
              </a:spcAft>
              <a:buSzPct val="110000"/>
              <a:buFontTx/>
              <a:buBlip>
                <a:blip r:embed="rId2"/>
              </a:buBlip>
              <a:tabLst/>
              <a:defRPr sz="1800" b="0" i="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800"/>
              </a:spcAft>
              <a:buSzPct val="110000"/>
              <a:buFontTx/>
              <a:buNone/>
              <a:tabLst/>
              <a:defRPr sz="18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645750" indent="-285750" algn="l" defTabSz="914400" rtl="0" eaLnBrk="1" latinLnBrk="0" hangingPunct="1">
              <a:lnSpc>
                <a:spcPts val="2580"/>
              </a:lnSpc>
              <a:spcBef>
                <a:spcPts val="0"/>
              </a:spcBef>
              <a:spcAft>
                <a:spcPts val="800"/>
              </a:spcAft>
              <a:buFontTx/>
              <a:buBlip>
                <a:blip r:embed="rId2"/>
              </a:buBlip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355600" marR="0" indent="0" algn="l" defTabSz="914400" rtl="0" eaLnBrk="1" fontAlgn="auto" latinLnBrk="0" hangingPunct="1">
              <a:lnSpc>
                <a:spcPts val="188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Tx/>
              <a:buNone/>
              <a:tabLst/>
              <a:defRPr sz="1400" b="0" i="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de-CH" sz="1800" b="0">
              <a:ea typeface="Verdana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CH" sz="1800" b="0">
              <a:latin typeface="Verdana"/>
              <a:ea typeface="Verdana"/>
            </a:endParaRPr>
          </a:p>
          <a:p>
            <a:pPr marL="457200" indent="-4572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CH" sz="1800"/>
          </a:p>
        </p:txBody>
      </p:sp>
    </p:spTree>
    <p:extLst>
      <p:ext uri="{BB962C8B-B14F-4D97-AF65-F5344CB8AC3E}">
        <p14:creationId xmlns:p14="http://schemas.microsoft.com/office/powerpoint/2010/main" val="38008430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836470">
        <p:fade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F6CC285-ACF2-0844-A784-994B4584E2B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pPr lvl="2"/>
            <a:r>
              <a:rPr lang="de-DE"/>
              <a:t>Folgen Sie uns auf Social Media</a:t>
            </a:r>
          </a:p>
        </p:txBody>
      </p:sp>
      <p:sp>
        <p:nvSpPr>
          <p:cNvPr id="5" name="Oval 4">
            <a:hlinkClick r:id="rId2"/>
            <a:extLst>
              <a:ext uri="{FF2B5EF4-FFF2-40B4-BE49-F238E27FC236}">
                <a16:creationId xmlns:a16="http://schemas.microsoft.com/office/drawing/2014/main" id="{04D045BF-5630-A543-9E5E-E60FF179A08D}"/>
              </a:ext>
            </a:extLst>
          </p:cNvPr>
          <p:cNvSpPr/>
          <p:nvPr/>
        </p:nvSpPr>
        <p:spPr>
          <a:xfrm>
            <a:off x="1760220" y="3153988"/>
            <a:ext cx="647700" cy="6477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Oval 5">
            <a:hlinkClick r:id="rId3"/>
            <a:extLst>
              <a:ext uri="{FF2B5EF4-FFF2-40B4-BE49-F238E27FC236}">
                <a16:creationId xmlns:a16="http://schemas.microsoft.com/office/drawing/2014/main" id="{E58E6E8F-0DF0-4246-B633-7CA77F4B2989}"/>
              </a:ext>
            </a:extLst>
          </p:cNvPr>
          <p:cNvSpPr/>
          <p:nvPr/>
        </p:nvSpPr>
        <p:spPr>
          <a:xfrm>
            <a:off x="2613660" y="3153988"/>
            <a:ext cx="649287" cy="649287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Oval 6">
            <a:hlinkClick r:id="rId4"/>
            <a:extLst>
              <a:ext uri="{FF2B5EF4-FFF2-40B4-BE49-F238E27FC236}">
                <a16:creationId xmlns:a16="http://schemas.microsoft.com/office/drawing/2014/main" id="{CC0F5BC7-DE9C-8C49-BF3F-5582B9D351E0}"/>
              </a:ext>
            </a:extLst>
          </p:cNvPr>
          <p:cNvSpPr/>
          <p:nvPr/>
        </p:nvSpPr>
        <p:spPr>
          <a:xfrm>
            <a:off x="3467100" y="3131820"/>
            <a:ext cx="716280" cy="71628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 descr="Ein Bild, das Symbol, Kreis, Logo, Schrift enthält.&#10;&#10;Automatisch generierte Beschreibung">
            <a:hlinkClick r:id="rId5"/>
            <a:extLst>
              <a:ext uri="{FF2B5EF4-FFF2-40B4-BE49-F238E27FC236}">
                <a16:creationId xmlns:a16="http://schemas.microsoft.com/office/drawing/2014/main" id="{1B112C33-42D3-97BE-3CE1-E9D8C1E722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3715" y="3093409"/>
            <a:ext cx="754691" cy="75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5419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8FC502-E929-8B1A-B002-52ED2E6B92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C5FA8C7-879E-9D72-BE1B-47EE41C8617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986465" y="1713987"/>
            <a:ext cx="10324734" cy="4323093"/>
          </a:xfrm>
        </p:spPr>
        <p:txBody>
          <a:bodyPr vert="horz" lIns="0" tIns="0" rIns="0" bIns="0" rtlCol="0" anchor="t">
            <a:noAutofit/>
          </a:bodyPr>
          <a:lstStyle/>
          <a:p>
            <a:pPr marL="0" lvl="1" indent="0">
              <a:buNone/>
            </a:pPr>
            <a:endParaRPr lang="de-CH" sz="1600">
              <a:latin typeface="Verdana"/>
              <a:ea typeface="Verdana"/>
            </a:endParaRPr>
          </a:p>
          <a:p>
            <a:pPr marL="0" lvl="1" indent="0">
              <a:buNone/>
            </a:pPr>
            <a:endParaRPr lang="de-DE">
              <a:latin typeface="+mn-lt"/>
              <a:ea typeface="+mn-ea"/>
              <a:cs typeface="+mn-cs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3A1DA9A3-138D-49D8-3EDE-ABBAFE07A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0" y="909075"/>
            <a:ext cx="10441249" cy="713259"/>
          </a:xfrm>
        </p:spPr>
        <p:txBody>
          <a:bodyPr/>
          <a:lstStyle/>
          <a:p>
            <a:r>
              <a:rPr lang="de-DE">
                <a:latin typeface="Arial Black"/>
                <a:ea typeface="Verdana"/>
              </a:rPr>
              <a:t>Umbenennung unseres Treffs</a:t>
            </a:r>
          </a:p>
        </p:txBody>
      </p:sp>
      <p:sp>
        <p:nvSpPr>
          <p:cNvPr id="5" name="!!Textfeld">
            <a:extLst>
              <a:ext uri="{FF2B5EF4-FFF2-40B4-BE49-F238E27FC236}">
                <a16:creationId xmlns:a16="http://schemas.microsoft.com/office/drawing/2014/main" id="{EF0718E0-6452-8D9F-9FF5-FD5B5D542BF5}"/>
              </a:ext>
            </a:extLst>
          </p:cNvPr>
          <p:cNvSpPr txBox="1"/>
          <p:nvPr/>
        </p:nvSpPr>
        <p:spPr>
          <a:xfrm>
            <a:off x="2080105" y="3521590"/>
            <a:ext cx="8030875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CH" sz="4000">
                <a:latin typeface="Arial Black"/>
              </a:rPr>
              <a:t>Unternehmensstamm KAMP</a:t>
            </a:r>
          </a:p>
        </p:txBody>
      </p:sp>
    </p:spTree>
    <p:extLst>
      <p:ext uri="{BB962C8B-B14F-4D97-AF65-F5344CB8AC3E}">
        <p14:creationId xmlns:p14="http://schemas.microsoft.com/office/powerpoint/2010/main" val="36460141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FDD267-292D-BA3D-DBB5-A0B52E325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579B0DA-302F-E105-DD00-F22ABD4C3F8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986465" y="1713987"/>
            <a:ext cx="10324734" cy="4323093"/>
          </a:xfrm>
        </p:spPr>
        <p:txBody>
          <a:bodyPr vert="horz" lIns="0" tIns="0" rIns="0" bIns="0" rtlCol="0" anchor="t">
            <a:noAutofit/>
          </a:bodyPr>
          <a:lstStyle/>
          <a:p>
            <a:pPr marL="0" lvl="1" indent="0">
              <a:buNone/>
            </a:pPr>
            <a:endParaRPr lang="de-CH" sz="1600">
              <a:latin typeface="Verdana"/>
              <a:ea typeface="Verdana"/>
            </a:endParaRPr>
          </a:p>
          <a:p>
            <a:pPr marL="0" lvl="1" indent="0">
              <a:buNone/>
            </a:pPr>
            <a:endParaRPr lang="de-DE">
              <a:latin typeface="+mn-lt"/>
              <a:ea typeface="+mn-ea"/>
              <a:cs typeface="+mn-cs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FB1ACDF1-CD7E-2299-47BE-FD3EA194E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0" y="909075"/>
            <a:ext cx="10441249" cy="713259"/>
          </a:xfrm>
        </p:spPr>
        <p:txBody>
          <a:bodyPr/>
          <a:lstStyle/>
          <a:p>
            <a:r>
              <a:rPr lang="de-DE">
                <a:latin typeface="Arial Black"/>
                <a:ea typeface="Verdana"/>
              </a:rPr>
              <a:t>Umbenennung unseres Treffs</a:t>
            </a:r>
          </a:p>
        </p:txBody>
      </p:sp>
      <p:sp>
        <p:nvSpPr>
          <p:cNvPr id="5" name="!!Textfeld">
            <a:extLst>
              <a:ext uri="{FF2B5EF4-FFF2-40B4-BE49-F238E27FC236}">
                <a16:creationId xmlns:a16="http://schemas.microsoft.com/office/drawing/2014/main" id="{6E2E5921-1E9C-49B5-1ABA-8878D3EC206B}"/>
              </a:ext>
            </a:extLst>
          </p:cNvPr>
          <p:cNvSpPr txBox="1"/>
          <p:nvPr/>
        </p:nvSpPr>
        <p:spPr>
          <a:xfrm>
            <a:off x="1466981" y="3521590"/>
            <a:ext cx="9108574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CH" sz="4000" err="1">
                <a:latin typeface="Arial Black"/>
              </a:rPr>
              <a:t>Unternehmer!nnen-Treff</a:t>
            </a:r>
            <a:r>
              <a:rPr lang="de-CH" sz="4000">
                <a:latin typeface="Arial Black"/>
              </a:rPr>
              <a:t> KAMP</a:t>
            </a:r>
            <a:endParaRPr lang="de-CH" sz="400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5792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6FE281-510A-134D-B0DA-B139B483A9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</a:pPr>
            <a:r>
              <a:rPr lang="de-CH" b="0">
                <a:latin typeface="Arial Black"/>
                <a:ea typeface="Verdana"/>
              </a:rPr>
              <a:t>Informationen</a:t>
            </a:r>
            <a:endParaRPr lang="de-DE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9BF49FF-D6E9-9345-A78B-0A6F5FCB658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79206" y="4515920"/>
            <a:ext cx="9552417" cy="9996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CH" b="0">
                <a:latin typeface="Arial Black"/>
                <a:ea typeface="Verdana"/>
              </a:rPr>
              <a:t>Aus der Handelskammer beider Basel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9BACA8D-BACD-D185-BF75-D1880C5EA0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9475" y="6051078"/>
            <a:ext cx="7854952" cy="554761"/>
          </a:xfrm>
        </p:spPr>
        <p:txBody>
          <a:bodyPr vert="horz" lIns="0" tIns="0" rIns="0" bIns="0" rtlCol="0" anchor="t">
            <a:normAutofit/>
          </a:bodyPr>
          <a:lstStyle/>
          <a:p>
            <a:pPr lvl="3"/>
            <a:r>
              <a:rPr lang="de-DE" dirty="0">
                <a:latin typeface="Verdana"/>
                <a:ea typeface="Verdana"/>
              </a:rPr>
              <a:t>25. März 2025</a:t>
            </a:r>
            <a:endParaRPr lang="de-DE" dirty="0"/>
          </a:p>
        </p:txBody>
      </p:sp>
      <p:sp>
        <p:nvSpPr>
          <p:cNvPr id="7" name="Textfeld 5">
            <a:extLst>
              <a:ext uri="{FF2B5EF4-FFF2-40B4-BE49-F238E27FC236}">
                <a16:creationId xmlns:a16="http://schemas.microsoft.com/office/drawing/2014/main" id="{ED0D6657-042B-1B38-E2AB-44F9D687600F}"/>
              </a:ext>
            </a:extLst>
          </p:cNvPr>
          <p:cNvSpPr txBox="1"/>
          <p:nvPr/>
        </p:nvSpPr>
        <p:spPr>
          <a:xfrm>
            <a:off x="815161" y="5702412"/>
            <a:ext cx="10056039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400" b="1" dirty="0"/>
              <a:t>Deborah Strub Abteilungsleiterin Cluster &amp; Initiativen, Mitglied der Geschäftsleit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10010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DEA9463-9632-104A-B44E-F73A9A99F66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986465" y="1713987"/>
            <a:ext cx="10324734" cy="4323093"/>
          </a:xfrm>
        </p:spPr>
        <p:txBody>
          <a:bodyPr vert="horz" lIns="0" tIns="0" rIns="0" bIns="0" rtlCol="0" anchor="t">
            <a:noAutofit/>
          </a:bodyPr>
          <a:lstStyle/>
          <a:p>
            <a:pPr lvl="1">
              <a:tabLst>
                <a:tab pos="1343025" algn="l"/>
              </a:tabLst>
            </a:pPr>
            <a:r>
              <a:rPr lang="de-CH" sz="1600">
                <a:latin typeface="Verdana"/>
                <a:ea typeface="Verdana"/>
              </a:rPr>
              <a:t>Beim Angebot </a:t>
            </a:r>
            <a:r>
              <a:rPr lang="de-CH" sz="1600" b="1">
                <a:latin typeface="Verdana"/>
                <a:ea typeface="Verdana"/>
              </a:rPr>
              <a:t>«Coaching»</a:t>
            </a:r>
            <a:r>
              <a:rPr lang="de-CH" sz="1600">
                <a:latin typeface="Verdana"/>
                <a:ea typeface="Verdana"/>
              </a:rPr>
              <a:t> unterstützen Wirtschaftsvertretende Schülerinnen und Schüler der zweiten und dritten Sekundarklassen in den Kantonen Basel-Stadt und Baselland beim Erstellen ihrer Bewerbungsdossiers und geben praktische Tipps für Vorstellungsgespräche.</a:t>
            </a:r>
            <a:endParaRPr lang="de-DE" sz="1600">
              <a:latin typeface="Verdana"/>
              <a:ea typeface="Verdana"/>
            </a:endParaRPr>
          </a:p>
          <a:p>
            <a:pPr lvl="1"/>
            <a:r>
              <a:rPr lang="de-CH" sz="1600">
                <a:latin typeface="Verdana"/>
                <a:ea typeface="Verdana"/>
              </a:rPr>
              <a:t>Beim Angebot </a:t>
            </a:r>
            <a:r>
              <a:rPr lang="de-CH" sz="1600" b="1">
                <a:latin typeface="Verdana"/>
                <a:ea typeface="Verdana"/>
              </a:rPr>
              <a:t>«</a:t>
            </a:r>
            <a:r>
              <a:rPr lang="de-CH" sz="1600" b="1" err="1">
                <a:latin typeface="Verdana"/>
                <a:ea typeface="Verdana"/>
              </a:rPr>
              <a:t>Rent</a:t>
            </a:r>
            <a:r>
              <a:rPr lang="de-CH" sz="1600" b="1">
                <a:latin typeface="Verdana"/>
                <a:ea typeface="Verdana"/>
              </a:rPr>
              <a:t> a Boss»</a:t>
            </a:r>
            <a:r>
              <a:rPr lang="de-CH" sz="1600">
                <a:latin typeface="Verdana"/>
                <a:ea typeface="Verdana"/>
              </a:rPr>
              <a:t> vermitteln Wirtschaftsvertretende aktuelle Wirtschaftspraxis und Informationen über Laufbahnmöglichkeiten mit einer Lehre am Elternabend, im Klassenzimmer oder vor Ort in ihrem Betrieb. </a:t>
            </a:r>
          </a:p>
          <a:p>
            <a:pPr lvl="1"/>
            <a:endParaRPr lang="de-CH" sz="1600">
              <a:latin typeface="Verdana"/>
              <a:ea typeface="Verdana"/>
            </a:endParaRPr>
          </a:p>
          <a:p>
            <a:pPr marL="0" lvl="1" indent="0">
              <a:buNone/>
            </a:pPr>
            <a:endParaRPr lang="de-DE">
              <a:latin typeface="+mn-lt"/>
              <a:ea typeface="+mn-ea"/>
              <a:cs typeface="+mn-cs"/>
            </a:endParaRP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E68E5E96-6814-C34A-8F42-2D5D0E5A38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0" y="909075"/>
            <a:ext cx="10441249" cy="713259"/>
          </a:xfrm>
        </p:spPr>
        <p:txBody>
          <a:bodyPr/>
          <a:lstStyle/>
          <a:p>
            <a:r>
              <a:rPr lang="de-DE">
                <a:latin typeface="Arial Black"/>
                <a:ea typeface="Verdana"/>
              </a:rPr>
              <a:t>SCHULPROJEKT </a:t>
            </a:r>
            <a:r>
              <a:rPr lang="de-CH">
                <a:latin typeface="Arial Black"/>
                <a:ea typeface="Verdana"/>
              </a:rPr>
              <a:t>«</a:t>
            </a:r>
            <a:r>
              <a:rPr lang="de-DE">
                <a:latin typeface="Arial Black"/>
                <a:ea typeface="Verdana"/>
              </a:rPr>
              <a:t>RENT A BOSS</a:t>
            </a:r>
            <a:r>
              <a:rPr lang="de-CH">
                <a:latin typeface="Arial Black"/>
                <a:ea typeface="Verdana"/>
              </a:rPr>
              <a:t>»</a:t>
            </a:r>
            <a:endParaRPr lang="de-DE" dirty="0">
              <a:latin typeface="Arial Black"/>
              <a:ea typeface="Verdana"/>
            </a:endParaRPr>
          </a:p>
        </p:txBody>
      </p:sp>
      <p:pic>
        <p:nvPicPr>
          <p:cNvPr id="2" name="Grafik 1" descr="Ein Bild, das Kleidung, Person, Im Haus, Mann enthält.&#10;&#10;Beschreibung automatisch generiert.">
            <a:extLst>
              <a:ext uri="{FF2B5EF4-FFF2-40B4-BE49-F238E27FC236}">
                <a16:creationId xmlns:a16="http://schemas.microsoft.com/office/drawing/2014/main" id="{0F0A5A80-9E1B-F6E3-9192-4120558F37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0777" y="3705617"/>
            <a:ext cx="4931855" cy="272948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A8D93D26-99F5-FA94-4786-18C325D979D4}"/>
              </a:ext>
            </a:extLst>
          </p:cNvPr>
          <p:cNvSpPr txBox="1"/>
          <p:nvPr/>
        </p:nvSpPr>
        <p:spPr>
          <a:xfrm>
            <a:off x="784445" y="179050"/>
            <a:ext cx="4910851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200"/>
              <a:t>Bildung</a:t>
            </a:r>
          </a:p>
        </p:txBody>
      </p:sp>
    </p:spTree>
    <p:extLst>
      <p:ext uri="{BB962C8B-B14F-4D97-AF65-F5344CB8AC3E}">
        <p14:creationId xmlns:p14="http://schemas.microsoft.com/office/powerpoint/2010/main" val="150495101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982C7EC-CED4-C3A7-0D4E-3A70EBF97C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0806" y="4295461"/>
            <a:ext cx="7047101" cy="215558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72255" y="906839"/>
            <a:ext cx="10446620" cy="713259"/>
          </a:xfrm>
        </p:spPr>
        <p:txBody>
          <a:bodyPr/>
          <a:lstStyle/>
          <a:p>
            <a:r>
              <a:rPr lang="de-CH"/>
              <a:t>Mitmachen lohnt sich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CDEA9463-9632-104A-B44E-F73A9A99F662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885265" y="1660422"/>
            <a:ext cx="10790268" cy="431583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marL="0" lvl="1" indent="0">
              <a:buNone/>
            </a:pPr>
            <a:r>
              <a:rPr lang="de-CH" b="1" dirty="0">
                <a:latin typeface="Verdana"/>
                <a:ea typeface="Verdana"/>
              </a:rPr>
              <a:t>Ausbildungsverantwortliche, HR-Personen und CEOs engagieren sich, weil</a:t>
            </a:r>
          </a:p>
          <a:p>
            <a:pPr lvl="1"/>
            <a:r>
              <a:rPr lang="de-CH" sz="1600" dirty="0">
                <a:latin typeface="Verdana"/>
                <a:ea typeface="Verdana"/>
              </a:rPr>
              <a:t>sie die duale Berufsbildung stärken möchten</a:t>
            </a:r>
          </a:p>
          <a:p>
            <a:pPr lvl="1"/>
            <a:r>
              <a:rPr lang="de-CH" sz="1600" dirty="0">
                <a:latin typeface="Verdana"/>
                <a:ea typeface="Verdana"/>
              </a:rPr>
              <a:t>sie zukünftige Lernende über aktuelle Anforderungen der Wirtschaft informieren können</a:t>
            </a:r>
          </a:p>
          <a:p>
            <a:pPr lvl="1"/>
            <a:r>
              <a:rPr lang="de-CH" sz="1600" dirty="0">
                <a:latin typeface="Verdana"/>
                <a:ea typeface="Verdana"/>
              </a:rPr>
              <a:t>sie den eigenen Ausbildungsbetrieb präsentieren können</a:t>
            </a:r>
          </a:p>
          <a:p>
            <a:pPr lvl="1"/>
            <a:r>
              <a:rPr lang="de-CH" sz="1600" dirty="0">
                <a:latin typeface="Verdana"/>
                <a:ea typeface="Verdana"/>
              </a:rPr>
              <a:t>sie damit aktiv etwas gegen den Fachkräftemangel unternehmen</a:t>
            </a:r>
          </a:p>
          <a:p>
            <a:pPr lvl="1"/>
            <a:r>
              <a:rPr lang="de-CH" sz="1600" dirty="0">
                <a:latin typeface="Verdana"/>
                <a:ea typeface="Verdana"/>
              </a:rPr>
              <a:t>sie den Jugendlichen positives Interesse seitens Wirtschaft vermitteln können</a:t>
            </a:r>
          </a:p>
          <a:p>
            <a:pPr marL="0" lvl="1" indent="0">
              <a:buNone/>
            </a:pPr>
            <a:endParaRPr lang="de-CH" dirty="0"/>
          </a:p>
          <a:p>
            <a:pPr marL="0" lvl="1" indent="0">
              <a:buNone/>
            </a:pP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C1C2540-4853-E4EA-2502-5C69067E1E7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17478" y="3761770"/>
            <a:ext cx="2877003" cy="2871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2449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54140F8-EED9-A551-DB43-9491833BCE7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84180" y="1909072"/>
            <a:ext cx="7760199" cy="4305012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r>
              <a:rPr lang="de-CH" sz="1600">
                <a:latin typeface="Verdana"/>
                <a:ea typeface="Verdana"/>
              </a:rPr>
              <a:t>Schweiz und EU haben Verhandlungen am 20.12.2024 erfolgreich abgeschlossen.</a:t>
            </a:r>
          </a:p>
          <a:p>
            <a:pPr marL="0" lvl="1" indent="0">
              <a:buNone/>
            </a:pPr>
            <a:endParaRPr lang="de-CH" sz="1600">
              <a:latin typeface="Verdana"/>
              <a:ea typeface="Verdana"/>
            </a:endParaRPr>
          </a:p>
          <a:p>
            <a:pPr marL="0" lvl="1" indent="0">
              <a:buNone/>
            </a:pPr>
            <a:r>
              <a:rPr lang="de-CH" sz="1600" b="1">
                <a:latin typeface="Verdana"/>
                <a:ea typeface="Verdana"/>
              </a:rPr>
              <a:t>Position HKBB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CH" sz="1600">
                <a:latin typeface="Verdana"/>
                <a:ea typeface="Verdana"/>
              </a:rPr>
              <a:t>EU ist und bleibt wichtigste Handelspartneri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CH" sz="1600">
                <a:latin typeface="Verdana"/>
                <a:ea typeface="Verdana"/>
              </a:rPr>
              <a:t>Weiterentwicklung der Bilateralen ist entscheidend für die Wirtschaft der Region Basel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CH" sz="1600">
                <a:latin typeface="Verdana"/>
                <a:ea typeface="Verdana"/>
              </a:rPr>
              <a:t>Aktuelles Vertragspaket ist die letzte Möglichkeit, den bilateralen Weg zu erhalte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de-CH" sz="1600" b="1">
                <a:solidFill>
                  <a:srgbClr val="C00000"/>
                </a:solidFill>
                <a:latin typeface="Verdana"/>
                <a:ea typeface="Verdana"/>
              </a:rPr>
              <a:t>Jetzt heisst es: Kräfte bündeln und überzeugen</a:t>
            </a:r>
            <a:r>
              <a:rPr lang="de-CH" sz="1600">
                <a:solidFill>
                  <a:srgbClr val="C00000"/>
                </a:solidFill>
                <a:latin typeface="Verdana"/>
                <a:ea typeface="Verdana"/>
              </a:rPr>
              <a:t>! </a:t>
            </a:r>
          </a:p>
          <a:p>
            <a:pPr marL="0" lvl="1" indent="0">
              <a:buNone/>
            </a:pPr>
            <a:endParaRPr lang="de-CH" sz="1600">
              <a:latin typeface="Verdana"/>
              <a:ea typeface="Verdana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952DFD3-E262-7F87-7DFF-4FC3CECFA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Bilaterale III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C650647-98C2-90BC-D765-CBDB79A6A4FE}"/>
              </a:ext>
            </a:extLst>
          </p:cNvPr>
          <p:cNvSpPr txBox="1"/>
          <p:nvPr/>
        </p:nvSpPr>
        <p:spPr>
          <a:xfrm>
            <a:off x="784445" y="179050"/>
            <a:ext cx="4910851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200" dirty="0" err="1"/>
              <a:t>Aussenwirtschaft</a:t>
            </a:r>
            <a:endParaRPr lang="de-DE" sz="1200" dirty="0"/>
          </a:p>
        </p:txBody>
      </p:sp>
      <p:pic>
        <p:nvPicPr>
          <p:cNvPr id="8" name="Grafik 7" descr="Ein Bild, das Flagge, Symbol, Flagge der Vereinigten Staaten, Karminrot enthält.&#10;&#10;Automatisch generierte Beschreibung">
            <a:extLst>
              <a:ext uri="{FF2B5EF4-FFF2-40B4-BE49-F238E27FC236}">
                <a16:creationId xmlns:a16="http://schemas.microsoft.com/office/drawing/2014/main" id="{B1334F79-3F7F-75E3-5181-AC22AD2F75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57894" y="1620098"/>
            <a:ext cx="2795950" cy="1863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134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342F40B-A4C2-6522-4AD6-CB68F20E97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2C402A-C29A-7FE2-400E-F7F9ABD9F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9951" y="905162"/>
            <a:ext cx="10448924" cy="784585"/>
          </a:xfrm>
        </p:spPr>
        <p:txBody>
          <a:bodyPr/>
          <a:lstStyle/>
          <a:p>
            <a:r>
              <a:rPr lang="de-CH" noProof="0" dirty="0"/>
              <a:t>Basler Steuermonito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60A0D3-455C-C08B-5478-430786B19D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2261" y="6493047"/>
            <a:ext cx="301237" cy="19180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9887FE-C7F0-4C49-9762-E1E334B5FEBC}" type="slidenum">
              <a:rPr lang="de-DE" smtClean="0"/>
              <a:pPr/>
              <a:t>8</a:t>
            </a:fld>
            <a:endParaRPr lang="de-CH" noProof="0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C19647E-1816-3C7A-5FF8-75F91250A4C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85265" y="1571349"/>
            <a:ext cx="6350804" cy="4275536"/>
          </a:xfrm>
        </p:spPr>
        <p:txBody>
          <a:bodyPr/>
          <a:lstStyle/>
          <a:p>
            <a:pPr lvl="1"/>
            <a:r>
              <a:rPr lang="de-CH" noProof="0" dirty="0"/>
              <a:t>Jährlicher Steuervergleich von KPMG Basel </a:t>
            </a:r>
            <a:br>
              <a:rPr lang="de-CH" noProof="0" dirty="0"/>
            </a:br>
            <a:r>
              <a:rPr lang="de-CH" noProof="0" dirty="0"/>
              <a:t>für Unternehmen und Privatpersonen</a:t>
            </a:r>
          </a:p>
          <a:p>
            <a:pPr lvl="1"/>
            <a:r>
              <a:rPr lang="de-CH" noProof="0" dirty="0"/>
              <a:t>Interkantonale und internationale Perspektive</a:t>
            </a:r>
          </a:p>
          <a:p>
            <a:pPr lvl="1"/>
            <a:endParaRPr lang="de-CH" dirty="0"/>
          </a:p>
          <a:p>
            <a:pPr marL="0" lvl="1" indent="0">
              <a:buNone/>
            </a:pPr>
            <a:r>
              <a:rPr lang="de-CH" b="1" noProof="0" dirty="0"/>
              <a:t>Forderungen der Handelskammer</a:t>
            </a:r>
          </a:p>
          <a:p>
            <a:pPr marL="1073150" lvl="1" indent="0">
              <a:buNone/>
            </a:pPr>
            <a:r>
              <a:rPr lang="de-CH" noProof="0" dirty="0"/>
              <a:t>Klare </a:t>
            </a:r>
            <a:r>
              <a:rPr lang="de-CH" dirty="0"/>
              <a:t>Absage an sämtliche Bestrebungen, die finanziellen Lasten für die Unternehmen in unserer Region zu erhöhen</a:t>
            </a:r>
          </a:p>
          <a:p>
            <a:pPr marL="1073150" lvl="1" indent="0">
              <a:buNone/>
            </a:pPr>
            <a:r>
              <a:rPr lang="de-CH" dirty="0"/>
              <a:t>Die längst überfällige Einkommenssteuerreform in Baselland mit intelligenten Bedingungen umsetzen, damit der Finanzhaushalt stabil bleibt.</a:t>
            </a:r>
            <a:endParaRPr lang="de-CH" noProof="0" dirty="0"/>
          </a:p>
          <a:p>
            <a:pPr marL="0" lvl="1" indent="0">
              <a:buNone/>
            </a:pPr>
            <a:endParaRPr lang="de-CH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664742D2-69B4-EA91-C5F1-1B8FF7DE90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70177" y="1689747"/>
            <a:ext cx="4005300" cy="27566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EC53AF72-AF89-6884-9B7E-9F5D48F8C4A0}"/>
              </a:ext>
            </a:extLst>
          </p:cNvPr>
          <p:cNvSpPr/>
          <p:nvPr/>
        </p:nvSpPr>
        <p:spPr>
          <a:xfrm>
            <a:off x="10091854" y="4728117"/>
            <a:ext cx="1483623" cy="17649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spcBef>
                <a:spcPts val="600"/>
              </a:spcBef>
            </a:pPr>
            <a:r>
              <a:rPr lang="de-CH" b="1" dirty="0"/>
              <a:t>Download</a:t>
            </a:r>
            <a:endParaRPr lang="de-CH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FCC98CC-24F0-1A64-3839-74ED96FD38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03366" y="5123516"/>
            <a:ext cx="1255418" cy="1229798"/>
          </a:xfrm>
          <a:prstGeom prst="rect">
            <a:avLst/>
          </a:prstGeom>
        </p:spPr>
      </p:pic>
      <p:pic>
        <p:nvPicPr>
          <p:cNvPr id="12" name="Grafik 11" descr="Balkendiagramm mit Abwärtstrend mit einfarbiger Füllung">
            <a:extLst>
              <a:ext uri="{FF2B5EF4-FFF2-40B4-BE49-F238E27FC236}">
                <a16:creationId xmlns:a16="http://schemas.microsoft.com/office/drawing/2014/main" id="{7FC6646B-6265-BB8C-92AA-E4F90BD361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9951" y="4446351"/>
            <a:ext cx="914400" cy="914400"/>
          </a:xfrm>
          <a:prstGeom prst="rect">
            <a:avLst/>
          </a:prstGeom>
        </p:spPr>
      </p:pic>
      <p:pic>
        <p:nvPicPr>
          <p:cNvPr id="16" name="Grafik 15" descr="Münzen mit einfarbiger Füllung">
            <a:extLst>
              <a:ext uri="{FF2B5EF4-FFF2-40B4-BE49-F238E27FC236}">
                <a16:creationId xmlns:a16="http://schemas.microsoft.com/office/drawing/2014/main" id="{0CA336A8-448D-D5A3-A386-4B2BA9AA4A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89891" y="3456005"/>
            <a:ext cx="914400" cy="9144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638A6420-8231-00AA-7BEC-CB656E7A5503}"/>
              </a:ext>
            </a:extLst>
          </p:cNvPr>
          <p:cNvSpPr txBox="1"/>
          <p:nvPr/>
        </p:nvSpPr>
        <p:spPr>
          <a:xfrm>
            <a:off x="784445" y="179050"/>
            <a:ext cx="4910851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200" dirty="0"/>
              <a:t>Finanzen &amp; Steuern</a:t>
            </a:r>
          </a:p>
        </p:txBody>
      </p:sp>
    </p:spTree>
    <p:extLst>
      <p:ext uri="{BB962C8B-B14F-4D97-AF65-F5344CB8AC3E}">
        <p14:creationId xmlns:p14="http://schemas.microsoft.com/office/powerpoint/2010/main" val="1373027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A7F93B03-C3F4-518A-0304-B81F2817E9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81B3151-DA65-ADDF-9560-141259B525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9</a:t>
            </a:fld>
            <a:endParaRPr lang="en-US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0067101-C829-660E-E61B-CAE2D8DF1DFC}"/>
              </a:ext>
            </a:extLst>
          </p:cNvPr>
          <p:cNvSpPr txBox="1"/>
          <p:nvPr/>
        </p:nvSpPr>
        <p:spPr>
          <a:xfrm>
            <a:off x="784445" y="2464301"/>
            <a:ext cx="9774305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Basel hat den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Standortvorteil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mit Anbindung an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Rhein, Schiene und </a:t>
            </a:r>
            <a:r>
              <a:rPr lang="de-DE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Strasse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. Basel soll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Drehscheibe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für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Import, Produktion, Speicherung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und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Verteilung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von Wasserstoff in der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Region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und für die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Schweiz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werden.</a:t>
            </a:r>
          </a:p>
          <a:p>
            <a:endParaRPr lang="de-DE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de-DE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Auch </a:t>
            </a:r>
            <a:r>
              <a:rPr lang="de-DE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trinational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sind wir stark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vernetzt.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Wir wollen die Schweiz ans das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EHB «European Hydrogen Backbone» Wasserstoff-Kernnetz anbinden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, damit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bezahlbare Energie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für die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Industrie und Mobilität/Schwerverkehr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zur Verfügung steht. Bis es so weit ist wird im </a:t>
            </a:r>
            <a:r>
              <a:rPr lang="de-DE" sz="1400" b="1" dirty="0" err="1">
                <a:latin typeface="Verdana" panose="020B0604030504040204" pitchFamily="34" charset="0"/>
                <a:ea typeface="Verdana" panose="020B0604030504040204" pitchFamily="34" charset="0"/>
              </a:rPr>
              <a:t>Birsfelder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 Hafen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mit einer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Pilot Anlage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eine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 Wasserstoff-Produktion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gebaut.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1500to pro Jahr grüner Wasserstoff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. </a:t>
            </a:r>
          </a:p>
          <a:p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Produziert mit Strom aus dem Wasserkraftwerk Birsfelden.</a:t>
            </a:r>
          </a:p>
          <a:p>
            <a:endParaRPr lang="de-DE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de-DE" sz="14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Wir unterstützen die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Nationale Wasserstoffstrategie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der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Schweiz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. Das </a:t>
            </a:r>
            <a:r>
              <a:rPr lang="de-DE" sz="1400" dirty="0" err="1">
                <a:latin typeface="Verdana" panose="020B0604030504040204" pitchFamily="34" charset="0"/>
                <a:ea typeface="Verdana" panose="020B0604030504040204" pitchFamily="34" charset="0"/>
              </a:rPr>
              <a:t>Dreiland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und die Schweiz werden davon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profitieren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, wenn wir konsequent und zügig daran arbeiten diese Strategie umzusetzen – Wir schaffen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Rahmenbedingungen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für die Industrie - Es wird ein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neuer Wirtschaftszweig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entstehen der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Aufträge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für Unternehmen, neue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Arbeitsplätze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, wertvolle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Steuereinnahmen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 und eine Reputation als </a:t>
            </a:r>
            <a:r>
              <a:rPr lang="de-DE" sz="1400" b="1" dirty="0">
                <a:latin typeface="Verdana" panose="020B0604030504040204" pitchFamily="34" charset="0"/>
                <a:ea typeface="Verdana" panose="020B0604030504040204" pitchFamily="34" charset="0"/>
              </a:rPr>
              <a:t>moderner Industriestandort </a:t>
            </a:r>
            <a:r>
              <a:rPr lang="de-DE" sz="1400" dirty="0">
                <a:latin typeface="Verdana" panose="020B0604030504040204" pitchFamily="34" charset="0"/>
                <a:ea typeface="Verdana" panose="020B0604030504040204" pitchFamily="34" charset="0"/>
              </a:rPr>
              <a:t>generiert. </a:t>
            </a:r>
            <a:endParaRPr lang="de-DE" sz="1600" dirty="0"/>
          </a:p>
        </p:txBody>
      </p:sp>
      <p:pic>
        <p:nvPicPr>
          <p:cNvPr id="2" name="Grafik 1" descr="Ein Bild, das Schrift, Text, Grafiken, Design enthält.&#10;&#10;Automatisch generierte Beschreibung">
            <a:extLst>
              <a:ext uri="{FF2B5EF4-FFF2-40B4-BE49-F238E27FC236}">
                <a16:creationId xmlns:a16="http://schemas.microsoft.com/office/drawing/2014/main" id="{DAD2776A-61C3-9803-DC90-F122642B40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3712" y="816839"/>
            <a:ext cx="2420470" cy="53568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30A3C22-BF89-DCCB-32B7-548E1DA15277}"/>
              </a:ext>
            </a:extLst>
          </p:cNvPr>
          <p:cNvSpPr txBox="1"/>
          <p:nvPr/>
        </p:nvSpPr>
        <p:spPr>
          <a:xfrm>
            <a:off x="784445" y="1479037"/>
            <a:ext cx="9524411" cy="830997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 err="1">
                <a:solidFill>
                  <a:srgbClr val="00B0F0"/>
                </a:solidFill>
                <a:ea typeface="Verdana"/>
              </a:rPr>
              <a:t>Wasserstoff</a:t>
            </a:r>
            <a:r>
              <a:rPr lang="en-US" sz="2400" b="1" dirty="0">
                <a:solidFill>
                  <a:srgbClr val="00B0F0"/>
                </a:solidFill>
                <a:ea typeface="Verdana"/>
              </a:rPr>
              <a:t> und seine Derivate -</a:t>
            </a:r>
          </a:p>
          <a:p>
            <a:r>
              <a:rPr lang="en-US" sz="2400" b="1" dirty="0" err="1">
                <a:solidFill>
                  <a:srgbClr val="00B0F0"/>
                </a:solidFill>
                <a:ea typeface="Verdana"/>
              </a:rPr>
              <a:t>Schlüssel</a:t>
            </a:r>
            <a:r>
              <a:rPr lang="en-US" sz="2400" b="1" dirty="0">
                <a:solidFill>
                  <a:srgbClr val="00B0F0"/>
                </a:solidFill>
                <a:ea typeface="Verdana"/>
              </a:rPr>
              <a:t> für </a:t>
            </a:r>
            <a:r>
              <a:rPr lang="en-US" sz="2400" b="1" dirty="0" err="1">
                <a:solidFill>
                  <a:srgbClr val="00B0F0"/>
                </a:solidFill>
                <a:ea typeface="Verdana"/>
              </a:rPr>
              <a:t>eine</a:t>
            </a:r>
            <a:r>
              <a:rPr lang="en-US" sz="2400" b="1" dirty="0">
                <a:solidFill>
                  <a:srgbClr val="00B0F0"/>
                </a:solidFill>
                <a:ea typeface="Verdana"/>
              </a:rPr>
              <a:t> </a:t>
            </a:r>
            <a:r>
              <a:rPr lang="en-US" sz="2400" b="1" dirty="0" err="1">
                <a:solidFill>
                  <a:srgbClr val="00B0F0"/>
                </a:solidFill>
                <a:ea typeface="Verdana"/>
              </a:rPr>
              <a:t>nachhaltige</a:t>
            </a:r>
            <a:r>
              <a:rPr lang="en-US" sz="2400" b="1" dirty="0">
                <a:solidFill>
                  <a:srgbClr val="00B0F0"/>
                </a:solidFill>
                <a:ea typeface="Verdana"/>
              </a:rPr>
              <a:t> </a:t>
            </a:r>
            <a:r>
              <a:rPr lang="en-US" sz="2400" b="1" dirty="0" err="1">
                <a:solidFill>
                  <a:srgbClr val="00B0F0"/>
                </a:solidFill>
                <a:ea typeface="Verdana"/>
              </a:rPr>
              <a:t>Energiezukunft</a:t>
            </a:r>
            <a:endParaRPr lang="en-US" sz="2400" b="1" dirty="0">
              <a:solidFill>
                <a:srgbClr val="00B0F0"/>
              </a:solidFill>
              <a:ea typeface="Verdana"/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8E5700B0-91C7-5754-7DB2-642A1D32CA5B}"/>
              </a:ext>
            </a:extLst>
          </p:cNvPr>
          <p:cNvSpPr txBox="1">
            <a:spLocks/>
          </p:cNvSpPr>
          <p:nvPr/>
        </p:nvSpPr>
        <p:spPr>
          <a:xfrm>
            <a:off x="784445" y="728054"/>
            <a:ext cx="8477980" cy="71325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3000"/>
              </a:spcAft>
              <a:buNone/>
              <a:defRPr sz="4000" b="1" i="0" kern="1200" cap="all" baseline="0">
                <a:solidFill>
                  <a:schemeClr val="accent1"/>
                </a:solidFill>
                <a:latin typeface="Arial Black" panose="020B0604020202020204" pitchFamily="34" charset="0"/>
                <a:ea typeface="Verdana" panose="020B060403050404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e-DE" dirty="0">
                <a:latin typeface="Arial Black"/>
                <a:ea typeface="Verdana"/>
              </a:rPr>
              <a:t>Wasserstoff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539A7B1-F4A1-98CE-018B-E3705EC753F1}"/>
              </a:ext>
            </a:extLst>
          </p:cNvPr>
          <p:cNvSpPr txBox="1"/>
          <p:nvPr/>
        </p:nvSpPr>
        <p:spPr>
          <a:xfrm>
            <a:off x="784445" y="179050"/>
            <a:ext cx="4910851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1200" dirty="0"/>
              <a:t>Cluster &amp; Initiativen</a:t>
            </a:r>
          </a:p>
        </p:txBody>
      </p:sp>
    </p:spTree>
    <p:extLst>
      <p:ext uri="{BB962C8B-B14F-4D97-AF65-F5344CB8AC3E}">
        <p14:creationId xmlns:p14="http://schemas.microsoft.com/office/powerpoint/2010/main" val="2280442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DUPLICATEONIMAGE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DUPLICATEONIMAGE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DUPLICATEONIMAGE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DUPLICATEONIMAGE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  <p:tag name="DUPLICATEONIMAGE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DUPLICATEONIMAGE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noteBox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DUPLICATEONIMAGE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tatus"/>
</p:tagLst>
</file>

<file path=ppt/theme/theme1.xml><?xml version="1.0" encoding="utf-8"?>
<a:theme xmlns:a="http://schemas.openxmlformats.org/drawingml/2006/main" name="Office">
  <a:themeElements>
    <a:clrScheme name="Benutzerdefiniert 13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E5342C"/>
      </a:accent1>
      <a:accent2>
        <a:srgbClr val="583C69"/>
      </a:accent2>
      <a:accent3>
        <a:srgbClr val="AA8EB0"/>
      </a:accent3>
      <a:accent4>
        <a:srgbClr val="695648"/>
      </a:accent4>
      <a:accent5>
        <a:srgbClr val="95897D"/>
      </a:accent5>
      <a:accent6>
        <a:srgbClr val="C3BCB6"/>
      </a:accent6>
      <a:hlink>
        <a:srgbClr val="0563C1"/>
      </a:hlink>
      <a:folHlink>
        <a:srgbClr val="954F7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Musterfolien" id="{F2D2DBB4-AB34-904A-A25D-8392ACDEC9C0}" vid="{F2BABCE9-5969-A347-B351-639150A8F4B1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enutzerdefiniert 1">
      <a:majorFont>
        <a:latin typeface="VAG Rounded Std Thin"/>
        <a:ea typeface=""/>
        <a:cs typeface=""/>
      </a:majorFont>
      <a:minorFont>
        <a:latin typeface="VAG Rounded Std Thi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Raiffeisen">
  <a:themeElements>
    <a:clrScheme name="Raiffeise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666666"/>
      </a:accent1>
      <a:accent2>
        <a:srgbClr val="CCBCA9"/>
      </a:accent2>
      <a:accent3>
        <a:srgbClr val="AF9FBC"/>
      </a:accent3>
      <a:accent4>
        <a:srgbClr val="E49590"/>
      </a:accent4>
      <a:accent5>
        <a:srgbClr val="7EB8B5"/>
      </a:accent5>
      <a:accent6>
        <a:srgbClr val="E82025"/>
      </a:accent6>
      <a:hlink>
        <a:srgbClr val="614073"/>
      </a:hlink>
      <a:folHlink>
        <a:srgbClr val="BCBCBC"/>
      </a:folHlink>
    </a:clrScheme>
    <a:fontScheme name="Raiffeisen">
      <a:majorFont>
        <a:latin typeface="Frutiger Next Com"/>
        <a:ea typeface=""/>
        <a:cs typeface=""/>
      </a:majorFont>
      <a:minorFont>
        <a:latin typeface="Frutiger Next Co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aiffeisen.potx" id="{0C89C36E-D008-4D86-9F34-B5FB2D1B500F}" vid="{670A5E3C-ED2D-4F53-9BCB-4395C56CB8CA}"/>
    </a:ext>
  </a:extLst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0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1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2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3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4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5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6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7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8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19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0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1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2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3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4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5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6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7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8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29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3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30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31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32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33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4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5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6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7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8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ppt/theme/themeOverride9.xml><?xml version="1.0" encoding="utf-8"?>
<a:themeOverride xmlns:a="http://schemas.openxmlformats.org/drawingml/2006/main">
  <a:clrScheme name="Raiffeisen">
    <a:dk1>
      <a:srgbClr val="000000"/>
    </a:dk1>
    <a:lt1>
      <a:srgbClr val="FFFFFF"/>
    </a:lt1>
    <a:dk2>
      <a:srgbClr val="000000"/>
    </a:dk2>
    <a:lt2>
      <a:srgbClr val="FFFFFF"/>
    </a:lt2>
    <a:accent1>
      <a:srgbClr val="666666"/>
    </a:accent1>
    <a:accent2>
      <a:srgbClr val="CCBCA9"/>
    </a:accent2>
    <a:accent3>
      <a:srgbClr val="AF9FBC"/>
    </a:accent3>
    <a:accent4>
      <a:srgbClr val="E49590"/>
    </a:accent4>
    <a:accent5>
      <a:srgbClr val="7EB8B5"/>
    </a:accent5>
    <a:accent6>
      <a:srgbClr val="E82025"/>
    </a:accent6>
    <a:hlink>
      <a:srgbClr val="614073"/>
    </a:hlink>
    <a:folHlink>
      <a:srgbClr val="BCBCBC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D2A90DC385F0A4497E831CA3C196326" ma:contentTypeVersion="13" ma:contentTypeDescription="Ein neues Dokument erstellen." ma:contentTypeScope="" ma:versionID="94398ba00f6856971b7e48b6c3108c9a">
  <xsd:schema xmlns:xsd="http://www.w3.org/2001/XMLSchema" xmlns:xs="http://www.w3.org/2001/XMLSchema" xmlns:p="http://schemas.microsoft.com/office/2006/metadata/properties" xmlns:ns2="bcb7915a-a8a5-4504-8ead-7dc8a1eaa327" xmlns:ns3="1b14af06-4c8a-4a8e-bbe5-284f8f914268" targetNamespace="http://schemas.microsoft.com/office/2006/metadata/properties" ma:root="true" ma:fieldsID="81cb1a06f7a0baa307af4376bcb428d6" ns2:_="" ns3:_="">
    <xsd:import namespace="bcb7915a-a8a5-4504-8ead-7dc8a1eaa327"/>
    <xsd:import namespace="1b14af06-4c8a-4a8e-bbe5-284f8f91426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b7915a-a8a5-4504-8ead-7dc8a1eaa32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e22580f8-4099-4815-b715-007eae50dcb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14af06-4c8a-4a8e-bbe5-284f8f91426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34ac8afc-d455-405a-b76a-c7afaf41165d}" ma:internalName="TaxCatchAll" ma:showField="CatchAllData" ma:web="1b14af06-4c8a-4a8e-bbe5-284f8f91426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b14af06-4c8a-4a8e-bbe5-284f8f914268" xsi:nil="true"/>
    <lcf76f155ced4ddcb4097134ff3c332f xmlns="bcb7915a-a8a5-4504-8ead-7dc8a1eaa327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28221F9-6265-40DF-B01D-355AAA07B4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cb7915a-a8a5-4504-8ead-7dc8a1eaa327"/>
    <ds:schemaRef ds:uri="1b14af06-4c8a-4a8e-bbe5-284f8f9142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F1B15C2-B622-4464-872A-FFB13E3A35C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439292-23DE-4FBC-B000-AFED89AC64F3}">
  <ds:schemaRefs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elements/1.1/"/>
    <ds:schemaRef ds:uri="http://www.w3.org/XML/1998/namespace"/>
    <ds:schemaRef ds:uri="http://schemas.microsoft.com/office/2006/documentManagement/types"/>
    <ds:schemaRef ds:uri="1b14af06-4c8a-4a8e-bbe5-284f8f914268"/>
    <ds:schemaRef ds:uri="bcb7915a-a8a5-4504-8ead-7dc8a1eaa327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{C965D186-16A2-4E2A-B310-53328D0EEE40}tf16411175_win32</Template>
  <TotalTime>0</TotalTime>
  <Words>828</Words>
  <Application>Microsoft Office PowerPoint</Application>
  <PresentationFormat>Breitbild</PresentationFormat>
  <Paragraphs>147</Paragraphs>
  <Slides>18</Slides>
  <Notes>6</Notes>
  <HiddenSlides>1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30" baseType="lpstr">
      <vt:lpstr>Corporate S W01 Bold</vt:lpstr>
      <vt:lpstr>Frutiger Next Com</vt:lpstr>
      <vt:lpstr>Arial</vt:lpstr>
      <vt:lpstr>Arial Black</vt:lpstr>
      <vt:lpstr>Calibri</vt:lpstr>
      <vt:lpstr>Symbol</vt:lpstr>
      <vt:lpstr>Verdana</vt:lpstr>
      <vt:lpstr>Wingdings</vt:lpstr>
      <vt:lpstr>Office</vt:lpstr>
      <vt:lpstr>1_Office</vt:lpstr>
      <vt:lpstr>Raiffeisen</vt:lpstr>
      <vt:lpstr>think-cell Slide</vt:lpstr>
      <vt:lpstr>UnternehmensstammKAMP</vt:lpstr>
      <vt:lpstr>Umbenennung unseres Treffs</vt:lpstr>
      <vt:lpstr>Umbenennung unseres Treffs</vt:lpstr>
      <vt:lpstr>Informationen</vt:lpstr>
      <vt:lpstr>SCHULPROJEKT «RENT A BOSS»</vt:lpstr>
      <vt:lpstr>Mitmachen lohnt sich</vt:lpstr>
      <vt:lpstr>Bilaterale III</vt:lpstr>
      <vt:lpstr>Basler Steuermonitor</vt:lpstr>
      <vt:lpstr>PowerPoint-Präsentation</vt:lpstr>
      <vt:lpstr>PowerPoint-Präsentation</vt:lpstr>
      <vt:lpstr>Be-digital basel Forum 2025</vt:lpstr>
      <vt:lpstr>Bahnkongress 2025</vt:lpstr>
      <vt:lpstr>Werkstatt Energietechnologien</vt:lpstr>
      <vt:lpstr>Zone zukunft</vt:lpstr>
      <vt:lpstr>Wirtschaft on air</vt:lpstr>
      <vt:lpstr>AGENDA - Save the Date</vt:lpstr>
      <vt:lpstr>AGENDA 2025 – Nächste Unternehmer!innen-Treff KAMP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CW Präsentation</dc:title>
  <dc:creator>Gabriele Schulte</dc:creator>
  <cp:lastModifiedBy>Schweizer Gabriel (HKBB)</cp:lastModifiedBy>
  <cp:revision>19</cp:revision>
  <cp:lastPrinted>2024-11-05T10:28:36Z</cp:lastPrinted>
  <dcterms:created xsi:type="dcterms:W3CDTF">2023-05-08T12:22:46Z</dcterms:created>
  <dcterms:modified xsi:type="dcterms:W3CDTF">2025-03-24T08:3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2A90DC385F0A4497E831CA3C196326</vt:lpwstr>
  </property>
  <property fmtid="{D5CDD505-2E9C-101B-9397-08002B2CF9AE}" pid="3" name="MediaServiceImageTags">
    <vt:lpwstr/>
  </property>
  <property fmtid="{D5CDD505-2E9C-101B-9397-08002B2CF9AE}" pid="4" name="_dlc_DocIdItemGuid">
    <vt:lpwstr>bfac82c4-ecf1-4e71-8f56-7720ab37f924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bool>false</vt:bool>
  </property>
  <property fmtid="{D5CDD505-2E9C-101B-9397-08002B2CF9AE}" pid="11" name="GUID">
    <vt:lpwstr>6bc5903b-3736-4608-b5d0-ca858f524a12</vt:lpwstr>
  </property>
</Properties>
</file>